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8" r:id="rId5"/>
  </p:sldMasterIdLst>
  <p:notesMasterIdLst>
    <p:notesMasterId r:id="rId10"/>
  </p:notesMasterIdLst>
  <p:handoutMasterIdLst>
    <p:handoutMasterId r:id="rId11"/>
  </p:handoutMasterIdLst>
  <p:sldIdLst>
    <p:sldId id="256" r:id="rId6"/>
    <p:sldId id="258" r:id="rId7"/>
    <p:sldId id="259" r:id="rId8"/>
    <p:sldId id="261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1965D04-7FE9-FBE3-2DB5-1FAE780EE7DD}" name="Aarthi Natarajan" initials="AN" userId="S::anatarajan@diligent.com::ac50c57f-cfe6-43f5-b0ba-3e058e9d5b7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rah Smithline" initials="SS" lastIdx="14" clrIdx="0"/>
  <p:cmAuthor id="2" name="Deep Dutta" initials="DD" lastIdx="1" clrIdx="1"/>
  <p:cmAuthor id="3" name="Randy Yau" initials="RY" lastIdx="1" clrIdx="2"/>
  <p:cmAuthor id="4" name="Randy Yau" initials="RY [2]" lastIdx="1" clrIdx="3"/>
  <p:cmAuthor id="5" name="Randy Yau" initials="RY [3]" lastIdx="1" clrIdx="4"/>
  <p:cmAuthor id="6" name="Randy Yau" initials="RY [4]" lastIdx="1" clrIdx="5"/>
  <p:cmAuthor id="7" name="Randy Yau" initials="RY [5]" lastIdx="1" clrIdx="6"/>
  <p:cmAuthor id="8" name="Randy Yau" initials="RY [6]" lastIdx="1" clrIdx="7"/>
  <p:cmAuthor id="9" name="Randy Yau" initials="RY [7]" lastIdx="1" clrIdx="8"/>
  <p:cmAuthor id="10" name="Randy Yau" initials="RY [8]" lastIdx="1" clrIdx="9"/>
  <p:cmAuthor id="11" name="Randy Yau" initials="RY [9]" lastIdx="1" clrIdx="10"/>
  <p:cmAuthor id="12" name="Randy Yau" initials="RY [10]" lastIdx="1" clrIdx="11"/>
  <p:cmAuthor id="13" name="Randy Yau" initials="RY [11]" lastIdx="1" clrIdx="12"/>
  <p:cmAuthor id="14" name="Randy Yau" initials="RY [12]" lastIdx="1" clrIdx="13"/>
  <p:cmAuthor id="15" name="Randy Yau" initials="RY [13]" lastIdx="0" clrIdx="14"/>
  <p:cmAuthor id="16" name="Randy Yau" initials="RY [14]" lastIdx="1" clrIdx="15"/>
  <p:cmAuthor id="17" name="Randy Yau" initials="RY [15]" lastIdx="1" clrIdx="16"/>
  <p:cmAuthor id="18" name="Randy Yau" initials="RY [16]" lastIdx="1" clrIdx="17"/>
  <p:cmAuthor id="19" name="Derek MacDavid" initials="DM" lastIdx="1" clrIdx="18">
    <p:extLst>
      <p:ext uri="{19B8F6BF-5375-455C-9EA6-DF929625EA0E}">
        <p15:presenceInfo xmlns:p15="http://schemas.microsoft.com/office/powerpoint/2012/main" userId="a896a1a75de17e3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7CE"/>
    <a:srgbClr val="FFEC9C"/>
    <a:srgbClr val="C6EFCE"/>
    <a:srgbClr val="A5A5A5"/>
    <a:srgbClr val="F1F3F4"/>
    <a:srgbClr val="000000"/>
    <a:srgbClr val="6F7878"/>
    <a:srgbClr val="F3F3F3"/>
    <a:srgbClr val="DADAD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29D983-AE2C-77D5-2CE8-A016945B95C3}" v="1" dt="2022-11-22T16:19:21.270"/>
    <p1510:client id="{6A99514F-78ED-4C4D-BF59-74C9ABC82DE3}" v="6" dt="2022-11-18T20:53:06.674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19" Type="http://schemas.microsoft.com/office/2018/10/relationships/authors" Target="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a Lopez" userId="S::mlopez@diligent.com::b31d425a-dac8-4d9f-bf29-2b2be15895aa" providerId="AD" clId="Web-{0729D983-AE2C-77D5-2CE8-A016945B95C3}"/>
    <pc:docChg chg="delSld">
      <pc:chgData name="Maria Lopez" userId="S::mlopez@diligent.com::b31d425a-dac8-4d9f-bf29-2b2be15895aa" providerId="AD" clId="Web-{0729D983-AE2C-77D5-2CE8-A016945B95C3}" dt="2022-11-22T16:19:21.270" v="0"/>
      <pc:docMkLst>
        <pc:docMk/>
      </pc:docMkLst>
      <pc:sldChg chg="del">
        <pc:chgData name="Maria Lopez" userId="S::mlopez@diligent.com::b31d425a-dac8-4d9f-bf29-2b2be15895aa" providerId="AD" clId="Web-{0729D983-AE2C-77D5-2CE8-A016945B95C3}" dt="2022-11-22T16:19:21.270" v="0"/>
        <pc:sldMkLst>
          <pc:docMk/>
          <pc:sldMk cId="672092588" sldId="260"/>
        </pc:sldMkLst>
      </pc:sldChg>
    </pc:docChg>
  </pc:docChgLst>
  <pc:docChgLst>
    <pc:chgData name="Maria Lopez" userId="b31d425a-dac8-4d9f-bf29-2b2be15895aa" providerId="ADAL" clId="{6A99514F-78ED-4C4D-BF59-74C9ABC82DE3}"/>
    <pc:docChg chg="modMainMaster">
      <pc:chgData name="Maria Lopez" userId="b31d425a-dac8-4d9f-bf29-2b2be15895aa" providerId="ADAL" clId="{6A99514F-78ED-4C4D-BF59-74C9ABC82DE3}" dt="2022-11-18T20:53:06.674" v="1" actId="20577"/>
      <pc:docMkLst>
        <pc:docMk/>
      </pc:docMkLst>
      <pc:sldMasterChg chg="modSp mod">
        <pc:chgData name="Maria Lopez" userId="b31d425a-dac8-4d9f-bf29-2b2be15895aa" providerId="ADAL" clId="{6A99514F-78ED-4C4D-BF59-74C9ABC82DE3}" dt="2022-11-18T20:53:06.674" v="1" actId="20577"/>
        <pc:sldMasterMkLst>
          <pc:docMk/>
          <pc:sldMasterMk cId="416430184" sldId="2147483658"/>
        </pc:sldMasterMkLst>
        <pc:spChg chg="mod">
          <ac:chgData name="Maria Lopez" userId="b31d425a-dac8-4d9f-bf29-2b2be15895aa" providerId="ADAL" clId="{6A99514F-78ED-4C4D-BF59-74C9ABC82DE3}" dt="2022-11-18T20:53:06.674" v="1" actId="20577"/>
          <ac:spMkLst>
            <pc:docMk/>
            <pc:sldMasterMk cId="416430184" sldId="2147483658"/>
            <ac:spMk id="17" creationId="{31C432A9-0CB3-4AFF-AA46-F95DD30BD240}"/>
          </ac:spMkLst>
        </pc:sp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102_AFE48DB8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102_AFE48DB8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93297788219261"/>
          <c:y val="4.899657894520372E-2"/>
          <c:w val="0.82638406860190061"/>
          <c:h val="0.8296204485444950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chemeClr val="accent2">
                <a:shade val="58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Indentify</c:v>
                </c:pt>
                <c:pt idx="1">
                  <c:v>Protect</c:v>
                </c:pt>
                <c:pt idx="2">
                  <c:v>Detect</c:v>
                </c:pt>
                <c:pt idx="3">
                  <c:v>Respond</c:v>
                </c:pt>
                <c:pt idx="4">
                  <c:v>Recover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5C-E448-B779-2F3AE81F42C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2">
                <a:shade val="86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Indentify</c:v>
                </c:pt>
                <c:pt idx="1">
                  <c:v>Protect</c:v>
                </c:pt>
                <c:pt idx="2">
                  <c:v>Detect</c:v>
                </c:pt>
                <c:pt idx="3">
                  <c:v>Respond</c:v>
                </c:pt>
                <c:pt idx="4">
                  <c:v>Recover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F5C-E448-B779-2F3AE81F42C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2">
                <a:tint val="86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Indentify</c:v>
                </c:pt>
                <c:pt idx="1">
                  <c:v>Protect</c:v>
                </c:pt>
                <c:pt idx="2">
                  <c:v>Detect</c:v>
                </c:pt>
                <c:pt idx="3">
                  <c:v>Respond</c:v>
                </c:pt>
                <c:pt idx="4">
                  <c:v>Recover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F5C-E448-B779-2F3AE81F42C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12</c:v>
                </c:pt>
              </c:strCache>
            </c:strRef>
          </c:tx>
          <c:spPr>
            <a:solidFill>
              <a:schemeClr val="accent2">
                <a:tint val="58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Indentify</c:v>
                </c:pt>
                <c:pt idx="1">
                  <c:v>Protect</c:v>
                </c:pt>
                <c:pt idx="2">
                  <c:v>Detect</c:v>
                </c:pt>
                <c:pt idx="3">
                  <c:v>Respond</c:v>
                </c:pt>
                <c:pt idx="4">
                  <c:v>Recover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F5C-E448-B779-2F3AE81F42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06436256"/>
        <c:axId val="1806430896"/>
      </c:barChart>
      <c:catAx>
        <c:axId val="18064362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06430896"/>
        <c:crosses val="autoZero"/>
        <c:auto val="1"/>
        <c:lblAlgn val="ctr"/>
        <c:lblOffset val="100"/>
        <c:noMultiLvlLbl val="0"/>
      </c:catAx>
      <c:valAx>
        <c:axId val="1806430896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18064362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453896505832659"/>
          <c:y val="4.7474273584900382E-2"/>
          <c:w val="0.34305778072244192"/>
          <c:h val="0.90505145283019928"/>
        </c:manualLayout>
      </c:layout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4B-334E-883B-51C19D817BE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14B-334E-883B-51C19D817BE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10</c:v>
                </c:pt>
                <c:pt idx="1">
                  <c:v>3</c:v>
                </c:pt>
                <c:pt idx="2">
                  <c:v>9</c:v>
                </c:pt>
                <c:pt idx="3">
                  <c:v>36</c:v>
                </c:pt>
                <c:pt idx="4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14B-334E-883B-51C19D817B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813928560"/>
        <c:axId val="1812112352"/>
      </c:radarChart>
      <c:catAx>
        <c:axId val="1813928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12112352"/>
        <c:crosses val="autoZero"/>
        <c:auto val="1"/>
        <c:lblAlgn val="ctr"/>
        <c:lblOffset val="100"/>
        <c:noMultiLvlLbl val="0"/>
      </c:catAx>
      <c:valAx>
        <c:axId val="18121123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139285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0856205400188896"/>
          <c:y val="5.2806771427674072E-2"/>
          <c:w val="0.15489908451450993"/>
          <c:h val="0.297293532798543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9E3BAFC-6413-46FD-AE2A-0122F620CED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73105" y="0"/>
            <a:ext cx="4731026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Title Can Go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5DBFCA-AB2B-4A4B-81E0-AF3A8386254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259508" y="0"/>
            <a:ext cx="2125387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A5F49E-CA8E-427E-8E79-0A655AF619F8}" type="datetime1">
              <a:rPr lang="en-US" sz="900" smtClean="0">
                <a:latin typeface="Arial" panose="020B0604020202020204" pitchFamily="34" charset="0"/>
                <a:cs typeface="Arial" panose="020B0604020202020204" pitchFamily="34" charset="0"/>
              </a:rPr>
              <a:t>11/22/2022</a:t>
            </a:fld>
            <a:endParaRPr lang="en-US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2728B91-3761-4485-B8CB-529D4EFB5FC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535126" y="8685213"/>
            <a:ext cx="4628795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900">
                <a:latin typeface="Arial" panose="020B0604020202020204" pitchFamily="34" charset="0"/>
                <a:cs typeface="Arial" panose="020B0604020202020204" pitchFamily="34" charset="0"/>
              </a:rPr>
              <a:t>©2021 Diligent. All rights reserved. Diligent Confidential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90EEF6-AFD5-4E09-A6C9-66BEBA224A1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-1" y="8685213"/>
            <a:ext cx="535127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E98D3F-CDB0-4E1F-912B-A363A97FEF13}" type="slidenum">
              <a:rPr lang="en-US" sz="9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 descr="Shape&#10;&#10;Description automatically generated with medium confidence">
            <a:extLst>
              <a:ext uri="{FF2B5EF4-FFF2-40B4-BE49-F238E27FC236}">
                <a16:creationId xmlns:a16="http://schemas.microsoft.com/office/drawing/2014/main" id="{9F2E3192-C4C1-4A48-B487-C329079E33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9178" y="8801127"/>
            <a:ext cx="1025717" cy="274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1011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74136" y="0"/>
            <a:ext cx="4765103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Can Go Her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293584" y="0"/>
            <a:ext cx="2091311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8242C19-4145-4538-BCD3-78C070BE9901}" type="datetime1">
              <a:rPr lang="en-US" smtClean="0"/>
              <a:t>11/2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96347" y="973042"/>
            <a:ext cx="5788548" cy="325605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96347" y="4400550"/>
            <a:ext cx="5790917" cy="380029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574136" y="8685213"/>
            <a:ext cx="4657193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2021 Diligent. All rights reserved. Diligent Confidential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-1" y="8685213"/>
            <a:ext cx="473105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CB9B96-0BD4-445C-BC23-F892D325D86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 descr="Shape&#10;&#10;Description automatically generated with medium confidence">
            <a:extLst>
              <a:ext uri="{FF2B5EF4-FFF2-40B4-BE49-F238E27FC236}">
                <a16:creationId xmlns:a16="http://schemas.microsoft.com/office/drawing/2014/main" id="{B262839F-EBF7-4C32-A5B9-1E78B6458F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9178" y="8801127"/>
            <a:ext cx="1025717" cy="274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333238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230188" indent="-111125" algn="l" defTabSz="914400" rtl="0" eaLnBrk="1" latinLnBrk="0" hangingPunct="1">
      <a:buFont typeface="Arial" panose="020B0604020202020204" pitchFamily="34" charset="0"/>
      <a:buChar char="•"/>
      <a:tabLst/>
      <a:defRPr sz="1050" kern="1200">
        <a:solidFill>
          <a:schemeClr val="tx1"/>
        </a:solidFill>
        <a:latin typeface="+mn-lt"/>
        <a:ea typeface="+mn-ea"/>
        <a:cs typeface="+mn-cs"/>
      </a:defRPr>
    </a:lvl2pPr>
    <a:lvl3pPr marL="396875" indent="-109538" algn="l" defTabSz="914400" rtl="0" eaLnBrk="1" latinLnBrk="0" hangingPunct="1">
      <a:buFont typeface="Arial" panose="020B0604020202020204" pitchFamily="34" charset="0"/>
      <a:buChar char="•"/>
      <a:tabLst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96900" y="973138"/>
            <a:ext cx="5788025" cy="3255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/>
          </a:p>
          <a:p>
            <a:endParaRPr lang="en-US" baseline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tle Can Go He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E13614-EBC3-45AD-9F9F-8962706C7B7A}" type="datetime1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22/2022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2018 Diligent. All rights reserved. Diligent Confidential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CB9B96-0BD4-445C-BC23-F892D325D869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0748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inv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6390A8-5E3F-4600-8158-C8E720D05C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9768" y="1477538"/>
            <a:ext cx="9281160" cy="1393535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5000"/>
              </a:lnSpc>
              <a:defRPr sz="4000" b="1" i="0" baseline="0">
                <a:solidFill>
                  <a:schemeClr val="bg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38F7015-339C-4C91-A852-8647EB8750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9768" y="2918048"/>
            <a:ext cx="9281160" cy="760794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Bef>
                <a:spcPts val="1800"/>
              </a:spcBef>
              <a:buNone/>
              <a:defRPr sz="4000">
                <a:solidFill>
                  <a:schemeClr val="bg1"/>
                </a:solidFill>
                <a:latin typeface="+mn-lt"/>
                <a:ea typeface="Proxima Nova Thin" panose="02000506030000020004" pitchFamily="50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ECC8D1-08DE-48CF-B074-D2C2EE8B17A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9769" y="3774642"/>
            <a:ext cx="5818632" cy="1115568"/>
          </a:xfr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 i="1">
                <a:solidFill>
                  <a:schemeClr val="bg1"/>
                </a:solidFill>
              </a:defRPr>
            </a:lvl3pPr>
            <a:lvl4pPr marL="571500" indent="0">
              <a:buNone/>
              <a:defRPr>
                <a:solidFill>
                  <a:schemeClr val="bg1"/>
                </a:solidFill>
              </a:defRPr>
            </a:lvl4pPr>
            <a:lvl5pPr marL="7985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F7FE46C-1D04-5A4D-BBDC-686AB855C3DA}"/>
              </a:ext>
            </a:extLst>
          </p:cNvPr>
          <p:cNvSpPr/>
          <p:nvPr userDrawn="1"/>
        </p:nvSpPr>
        <p:spPr>
          <a:xfrm>
            <a:off x="0" y="145154"/>
            <a:ext cx="12192000" cy="87915"/>
          </a:xfrm>
          <a:prstGeom prst="rect">
            <a:avLst/>
          </a:prstGeom>
          <a:solidFill>
            <a:srgbClr val="EE31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CAFBB0-F896-D94C-B698-C4C6B6811E8C}"/>
              </a:ext>
            </a:extLst>
          </p:cNvPr>
          <p:cNvSpPr/>
          <p:nvPr userDrawn="1"/>
        </p:nvSpPr>
        <p:spPr>
          <a:xfrm>
            <a:off x="0" y="-11262"/>
            <a:ext cx="12192000" cy="163005"/>
          </a:xfrm>
          <a:prstGeom prst="rect">
            <a:avLst/>
          </a:prstGeom>
          <a:solidFill>
            <a:srgbClr val="AF29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C50794E-ADA1-455D-AB2E-ED411D6B5F2F}"/>
              </a:ext>
            </a:extLst>
          </p:cNvPr>
          <p:cNvGrpSpPr/>
          <p:nvPr userDrawn="1"/>
        </p:nvGrpSpPr>
        <p:grpSpPr bwMode="invGray">
          <a:xfrm>
            <a:off x="428899" y="5990132"/>
            <a:ext cx="1595844" cy="426631"/>
            <a:chOff x="428899" y="5990132"/>
            <a:chExt cx="1595844" cy="426631"/>
          </a:xfrm>
        </p:grpSpPr>
        <p:pic>
          <p:nvPicPr>
            <p:cNvPr id="10" name="Picture 9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A38C7238-8D85-4054-9BA3-7E73F29681A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invGray">
            <a:xfrm>
              <a:off x="428899" y="5990132"/>
              <a:ext cx="442640" cy="426631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46BC554-09E6-4B79-BB69-C0422C4A60A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 bwMode="invGray">
            <a:xfrm>
              <a:off x="927916" y="6093620"/>
              <a:ext cx="1096827" cy="2805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892735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50/50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08A1-9BF7-49B9-AC33-95323059018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768" y="1947672"/>
            <a:ext cx="5513832" cy="4110228"/>
          </a:xfrm>
        </p:spPr>
        <p:txBody>
          <a:bodyPr lIns="0" tIns="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489075" indent="-234950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11343132" cy="996696"/>
          </a:xfrm>
        </p:spPr>
        <p:txBody>
          <a:bodyPr lIns="0" tIns="0"/>
          <a:lstStyle>
            <a:lvl1pPr>
              <a:defRPr b="1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9D8FD07-CDA3-400E-B3E1-23A4E9D70B88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257624" y="1947672"/>
            <a:ext cx="5513832" cy="4110228"/>
          </a:xfrm>
        </p:spPr>
        <p:txBody>
          <a:bodyPr lIns="0" tIns="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Proxima Nova Light" panose="02000506030000020004" pitchFamily="50" charset="0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544638" indent="-23336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Add copy or click on icons to add charts, photos, and other graphic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00F91D6-F39E-4BD6-A2D6-E66307A8F2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68" y="1007073"/>
            <a:ext cx="11343132" cy="446087"/>
          </a:xfrm>
        </p:spPr>
        <p:txBody>
          <a:bodyPr lIns="0">
            <a:noAutofit/>
          </a:bodyPr>
          <a:lstStyle>
            <a:lvl1pPr marL="0" indent="0">
              <a:lnSpc>
                <a:spcPct val="85000"/>
              </a:lnSpc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403935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08A1-9BF7-49B9-AC33-95323059018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768" y="1947672"/>
            <a:ext cx="3562264" cy="4110228"/>
          </a:xfrm>
        </p:spPr>
        <p:txBody>
          <a:bodyPr lIns="0" tIns="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489075" indent="-234950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11343132" cy="996696"/>
          </a:xfrm>
        </p:spPr>
        <p:txBody>
          <a:bodyPr lIns="0" tIns="0"/>
          <a:lstStyle>
            <a:lvl1pPr>
              <a:defRPr b="1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9D8FD07-CDA3-400E-B3E1-23A4E9D70B88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16630" y="1947672"/>
            <a:ext cx="3562264" cy="4110228"/>
          </a:xfrm>
        </p:spPr>
        <p:txBody>
          <a:bodyPr lIns="0" tIns="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FF0000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Proxima Nova Light" panose="02000506030000020004" pitchFamily="50" charset="0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544638" indent="-23336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B257A32-EC8A-4B2E-9711-BD33F5284E53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203492" y="1947672"/>
            <a:ext cx="3566160" cy="4110228"/>
          </a:xfrm>
        </p:spPr>
        <p:txBody>
          <a:bodyPr lIns="0" tIns="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Proxima Nova Light" panose="02000506030000020004" pitchFamily="50" charset="0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544638" indent="-23336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3BEE26B2-599D-4668-BED8-20F6B7C281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67" y="1007073"/>
            <a:ext cx="11343133" cy="446087"/>
          </a:xfrm>
        </p:spPr>
        <p:txBody>
          <a:bodyPr lIns="0">
            <a:noAutofit/>
          </a:bodyPr>
          <a:lstStyle>
            <a:lvl1pPr marL="0" indent="0">
              <a:lnSpc>
                <a:spcPct val="85000"/>
              </a:lnSpc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018197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Sha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08A1-9BF7-49B9-AC33-95323059018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768" y="1947672"/>
            <a:ext cx="3562264" cy="4110228"/>
          </a:xfrm>
          <a:solidFill>
            <a:srgbClr val="F1F3F4"/>
          </a:solidFill>
        </p:spPr>
        <p:txBody>
          <a:bodyPr lIns="182880" tIns="182880" rIns="91440" bIns="9144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489075" indent="-234950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11343132" cy="996696"/>
          </a:xfrm>
        </p:spPr>
        <p:txBody>
          <a:bodyPr lIns="0" tIns="0"/>
          <a:lstStyle>
            <a:lvl1pPr>
              <a:defRPr b="1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9D8FD07-CDA3-400E-B3E1-23A4E9D70B88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15968" y="1947671"/>
            <a:ext cx="3562264" cy="4110229"/>
          </a:xfrm>
          <a:solidFill>
            <a:srgbClr val="F1F3F4"/>
          </a:solidFill>
        </p:spPr>
        <p:txBody>
          <a:bodyPr lIns="182880" tIns="182880" rIns="91440" bIns="9144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Proxima Nova Light" panose="02000506030000020004" pitchFamily="50" charset="0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544638" indent="-23336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B257A32-EC8A-4B2E-9711-BD33F5284E53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202168" y="1947673"/>
            <a:ext cx="3562264" cy="4104212"/>
          </a:xfrm>
          <a:solidFill>
            <a:srgbClr val="F1F3F4"/>
          </a:solidFill>
        </p:spPr>
        <p:txBody>
          <a:bodyPr lIns="182880" tIns="182880" rIns="91440" bIns="9144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Proxima Nova Light" panose="02000506030000020004" pitchFamily="50" charset="0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544638" indent="-23336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35C640D8-586A-4715-B1F5-099406FC7A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68" y="1007073"/>
            <a:ext cx="11343132" cy="446087"/>
          </a:xfrm>
        </p:spPr>
        <p:txBody>
          <a:bodyPr lIns="0">
            <a:noAutofit/>
          </a:bodyPr>
          <a:lstStyle>
            <a:lvl1pPr marL="0" indent="0">
              <a:lnSpc>
                <a:spcPct val="85000"/>
              </a:lnSpc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343038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08A1-9BF7-49B9-AC33-95323059018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528" y="1947672"/>
            <a:ext cx="2596896" cy="4110228"/>
          </a:xfrm>
        </p:spPr>
        <p:txBody>
          <a:bodyPr lIns="0" tIns="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489075" indent="-234950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11343132" cy="996696"/>
          </a:xfrm>
        </p:spPr>
        <p:txBody>
          <a:bodyPr lIns="0" tIns="0"/>
          <a:lstStyle>
            <a:lvl1pPr>
              <a:defRPr b="1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9D8FD07-CDA3-400E-B3E1-23A4E9D70B88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343416" y="1947672"/>
            <a:ext cx="2596896" cy="4110228"/>
          </a:xfrm>
        </p:spPr>
        <p:txBody>
          <a:bodyPr lIns="0" tIns="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Proxima Nova Light" panose="02000506030000020004" pitchFamily="50" charset="0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544638" indent="-23336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B257A32-EC8A-4B2E-9711-BD33F5284E53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7304" y="1947672"/>
            <a:ext cx="2596896" cy="4110228"/>
          </a:xfrm>
        </p:spPr>
        <p:txBody>
          <a:bodyPr lIns="0" tIns="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Proxima Nova Light" panose="02000506030000020004" pitchFamily="50" charset="0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544638" indent="-23336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F7A547D-9E7F-4190-AB3F-B6C4C42126B7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171192" y="1947672"/>
            <a:ext cx="2596896" cy="4110228"/>
          </a:xfrm>
        </p:spPr>
        <p:txBody>
          <a:bodyPr lIns="0" tIns="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Proxima Nova Light" panose="02000506030000020004" pitchFamily="50" charset="0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544638" indent="-23336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01106286-EE00-472A-8612-FA2FF1225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68" y="1007073"/>
            <a:ext cx="11343132" cy="446087"/>
          </a:xfrm>
        </p:spPr>
        <p:txBody>
          <a:bodyPr lIns="0">
            <a:noAutofit/>
          </a:bodyPr>
          <a:lstStyle>
            <a:lvl1pPr marL="0" indent="0">
              <a:lnSpc>
                <a:spcPct val="85000"/>
              </a:lnSpc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538084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Sha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11343132" cy="996696"/>
          </a:xfrm>
        </p:spPr>
        <p:txBody>
          <a:bodyPr lIns="0" tIns="0"/>
          <a:lstStyle>
            <a:lvl1pPr>
              <a:defRPr b="1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1648BAF0-9123-40C0-AB6E-F83D1FB1D3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68" y="1007073"/>
            <a:ext cx="11343132" cy="446087"/>
          </a:xfrm>
        </p:spPr>
        <p:txBody>
          <a:bodyPr lIns="0">
            <a:noAutofit/>
          </a:bodyPr>
          <a:lstStyle>
            <a:lvl1pPr marL="0" indent="0">
              <a:lnSpc>
                <a:spcPct val="85000"/>
              </a:lnSpc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9B6FB4E-BC0C-47A2-811C-2F3D283214C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528" y="1947672"/>
            <a:ext cx="2596896" cy="4110228"/>
          </a:xfrm>
          <a:solidFill>
            <a:srgbClr val="F1F3F4"/>
          </a:solidFill>
        </p:spPr>
        <p:txBody>
          <a:bodyPr lIns="182880" tIns="182880" rIns="91440" bIns="9144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489075" indent="-234950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AA0C155-4C59-4F9C-BB44-CB462FB60AA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343416" y="1947672"/>
            <a:ext cx="2596896" cy="4110228"/>
          </a:xfrm>
          <a:solidFill>
            <a:srgbClr val="F1F3F4"/>
          </a:solidFill>
        </p:spPr>
        <p:txBody>
          <a:bodyPr lIns="182880" tIns="182880" rIns="91440" bIns="9144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Proxima Nova Light" panose="02000506030000020004" pitchFamily="50" charset="0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544638" indent="-23336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D80BDCA-E75D-4F60-BB77-92FEFB50EF7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7304" y="1947672"/>
            <a:ext cx="2596896" cy="4110228"/>
          </a:xfrm>
          <a:solidFill>
            <a:srgbClr val="F1F3F4"/>
          </a:solidFill>
        </p:spPr>
        <p:txBody>
          <a:bodyPr lIns="182880" tIns="182880" rIns="91440" bIns="9144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Proxima Nova Light" panose="02000506030000020004" pitchFamily="50" charset="0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544638" indent="-23336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E7237E8-F5AB-49E2-8541-5ABC00622E7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171192" y="1947672"/>
            <a:ext cx="2596896" cy="4110228"/>
          </a:xfrm>
          <a:solidFill>
            <a:srgbClr val="F1F3F4"/>
          </a:solidFill>
        </p:spPr>
        <p:txBody>
          <a:bodyPr lIns="182880" tIns="182880" rIns="91440" bIns="9144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Proxima Nova Light" panose="02000506030000020004" pitchFamily="50" charset="0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544638" indent="-23336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495953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Boxes">
    <p:bg bwMode="gray">
      <p:bgPr>
        <a:solidFill>
          <a:srgbClr val="F1F3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A66F24D-15B3-46D5-87F4-3CF4E9E9E482}"/>
              </a:ext>
            </a:extLst>
          </p:cNvPr>
          <p:cNvSpPr/>
          <p:nvPr userDrawn="1"/>
        </p:nvSpPr>
        <p:spPr bwMode="gray">
          <a:xfrm>
            <a:off x="424060" y="1947672"/>
            <a:ext cx="3575304" cy="3470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A71902-3144-4509-A64C-BE3C8EAD70F5}"/>
              </a:ext>
            </a:extLst>
          </p:cNvPr>
          <p:cNvSpPr/>
          <p:nvPr userDrawn="1"/>
        </p:nvSpPr>
        <p:spPr bwMode="gray">
          <a:xfrm>
            <a:off x="4311555" y="1947672"/>
            <a:ext cx="3575304" cy="3470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2D763C1-432A-4DB3-808D-8A3DC33E4F3D}"/>
              </a:ext>
            </a:extLst>
          </p:cNvPr>
          <p:cNvSpPr/>
          <p:nvPr userDrawn="1"/>
        </p:nvSpPr>
        <p:spPr bwMode="gray">
          <a:xfrm>
            <a:off x="8199051" y="1947672"/>
            <a:ext cx="3575304" cy="3470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08A1-9BF7-49B9-AC33-95323059018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0679" y="3661358"/>
            <a:ext cx="3122067" cy="176425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1000"/>
              </a:spcBef>
              <a:buNone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11343132" cy="996696"/>
          </a:xfrm>
        </p:spPr>
        <p:txBody>
          <a:bodyPr lIns="0" tIns="0"/>
          <a:lstStyle>
            <a:lvl1pPr>
              <a:defRPr b="1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F91FEF7-A527-4847-B0E0-68F64D92DD4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508151" y="3661358"/>
            <a:ext cx="3182112" cy="176425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1000"/>
              </a:spcBef>
              <a:buNone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97919D6E-B54A-1841-92AE-DE97135C24EB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395188" y="3661358"/>
            <a:ext cx="3183031" cy="176425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1000"/>
              </a:spcBef>
              <a:buNone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387700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-Statement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6F89ED3B-EE80-4A07-BD4B-12BB329D6F67}"/>
              </a:ext>
            </a:extLst>
          </p:cNvPr>
          <p:cNvSpPr/>
          <p:nvPr userDrawn="1"/>
        </p:nvSpPr>
        <p:spPr bwMode="ltGray">
          <a:xfrm>
            <a:off x="348916" y="419101"/>
            <a:ext cx="11472110" cy="5458968"/>
          </a:xfrm>
          <a:prstGeom prst="rect">
            <a:avLst/>
          </a:prstGeom>
          <a:solidFill>
            <a:schemeClr val="bg2"/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lang="en-US" sz="1600" b="1" u="none" strike="noStrike" cap="none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9D17D346-9E98-4191-9421-88BA290066D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2754" y="0"/>
            <a:ext cx="12198016" cy="6786563"/>
          </a:xfrm>
          <a:custGeom>
            <a:avLst/>
            <a:gdLst>
              <a:gd name="connsiteX0" fmla="*/ 419100 w 12192000"/>
              <a:gd name="connsiteY0" fmla="*/ 419101 h 6786563"/>
              <a:gd name="connsiteX1" fmla="*/ 419100 w 12192000"/>
              <a:gd name="connsiteY1" fmla="*/ 5860023 h 6786563"/>
              <a:gd name="connsiteX2" fmla="*/ 11772900 w 12192000"/>
              <a:gd name="connsiteY2" fmla="*/ 5860023 h 6786563"/>
              <a:gd name="connsiteX3" fmla="*/ 11772900 w 12192000"/>
              <a:gd name="connsiteY3" fmla="*/ 419101 h 6786563"/>
              <a:gd name="connsiteX4" fmla="*/ 0 w 12192000"/>
              <a:gd name="connsiteY4" fmla="*/ 0 h 6786563"/>
              <a:gd name="connsiteX5" fmla="*/ 12192000 w 12192000"/>
              <a:gd name="connsiteY5" fmla="*/ 0 h 6786563"/>
              <a:gd name="connsiteX6" fmla="*/ 12192000 w 12192000"/>
              <a:gd name="connsiteY6" fmla="*/ 6786563 h 6786563"/>
              <a:gd name="connsiteX7" fmla="*/ 0 w 12192000"/>
              <a:gd name="connsiteY7" fmla="*/ 6786563 h 6786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786563">
                <a:moveTo>
                  <a:pt x="419100" y="419101"/>
                </a:moveTo>
                <a:lnTo>
                  <a:pt x="419100" y="5860023"/>
                </a:lnTo>
                <a:lnTo>
                  <a:pt x="11772900" y="5860023"/>
                </a:lnTo>
                <a:lnTo>
                  <a:pt x="11772900" y="41910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786563"/>
                </a:lnTo>
                <a:lnTo>
                  <a:pt x="0" y="678656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6390A8-5E3F-4600-8158-C8E720D05C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155035" y="1330475"/>
            <a:ext cx="10040352" cy="3615203"/>
          </a:xfrm>
        </p:spPr>
        <p:txBody>
          <a:bodyPr lIns="0" tIns="0" anchor="t">
            <a:noAutofit/>
          </a:bodyPr>
          <a:lstStyle>
            <a:lvl1pPr marL="342900" indent="-342900" algn="l">
              <a:lnSpc>
                <a:spcPct val="100000"/>
              </a:lnSpc>
              <a:spcBef>
                <a:spcPts val="600"/>
              </a:spcBef>
              <a:tabLst/>
              <a:defRPr sz="3200" b="0" i="0" baseline="0">
                <a:solidFill>
                  <a:schemeClr val="bg1"/>
                </a:solidFill>
                <a:latin typeface="Georgia" panose="02040502050405020303" pitchFamily="18" charset="0"/>
                <a:ea typeface="Georgia" panose="02040502050405020303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“	Click to Edit Master Title Styl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D7BE7CF-ACE7-49E8-8A41-E4E3F2265B49}"/>
              </a:ext>
            </a:extLst>
          </p:cNvPr>
          <p:cNvSpPr/>
          <p:nvPr userDrawn="1"/>
        </p:nvSpPr>
        <p:spPr>
          <a:xfrm>
            <a:off x="0" y="6786732"/>
            <a:ext cx="12192000" cy="71268"/>
          </a:xfrm>
          <a:prstGeom prst="rect">
            <a:avLst/>
          </a:prstGeom>
          <a:solidFill>
            <a:srgbClr val="D322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9FDEB59-8CA0-4C0B-9F8B-82257C1104AE}"/>
              </a:ext>
            </a:extLst>
          </p:cNvPr>
          <p:cNvSpPr txBox="1"/>
          <p:nvPr userDrawn="1"/>
        </p:nvSpPr>
        <p:spPr>
          <a:xfrm>
            <a:off x="415476" y="6390207"/>
            <a:ext cx="7306056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228600" indent="-228600"/>
            <a:fld id="{E19460A7-1930-4D5F-A936-CB6F16095A68}" type="slidenum">
              <a:rPr lang="en-US" sz="80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‹#›</a:t>
            </a:fld>
            <a:r>
              <a:rPr lang="en-US" sz="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	      © 2021 Diligent Corporation</a:t>
            </a:r>
            <a:r>
              <a:rPr lang="en-US" sz="700" b="0">
                <a:solidFill>
                  <a:schemeClr val="tx1"/>
                </a:solidFill>
              </a:rPr>
              <a:t>	</a:t>
            </a:r>
          </a:p>
        </p:txBody>
      </p:sp>
      <p:pic>
        <p:nvPicPr>
          <p:cNvPr id="9" name="Picture 8" descr="Shape&#10;&#10;Description automatically generated with medium confidence">
            <a:extLst>
              <a:ext uri="{FF2B5EF4-FFF2-40B4-BE49-F238E27FC236}">
                <a16:creationId xmlns:a16="http://schemas.microsoft.com/office/drawing/2014/main" id="{C8942B66-1CAA-4754-BD43-6BC060464E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9900" y="6254799"/>
            <a:ext cx="1143000" cy="305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36075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33/66-gr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BC5602C-EB86-495C-B110-455C1F37DC6C}"/>
              </a:ext>
            </a:extLst>
          </p:cNvPr>
          <p:cNvSpPr/>
          <p:nvPr userDrawn="1"/>
        </p:nvSpPr>
        <p:spPr bwMode="invGray">
          <a:xfrm>
            <a:off x="4638174" y="-1"/>
            <a:ext cx="7553464" cy="679274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08A1-9BF7-49B9-AC33-95323059018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768" y="1947672"/>
            <a:ext cx="4206240" cy="4114800"/>
          </a:xfrm>
        </p:spPr>
        <p:txBody>
          <a:bodyPr lIns="0" tIns="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489075" indent="-234950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DF86A788-66F3-4247-8159-C4BB8CA551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68" y="1383064"/>
            <a:ext cx="4206240" cy="446087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24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4208404" cy="996696"/>
          </a:xfrm>
        </p:spPr>
        <p:txBody>
          <a:bodyPr lIns="0" tIns="0"/>
          <a:lstStyle>
            <a:lvl1pPr>
              <a:defRPr b="1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D42B09F-3C1F-4812-8F10-EC378A5ECCE0}"/>
              </a:ext>
            </a:extLst>
          </p:cNvPr>
          <p:cNvGrpSpPr/>
          <p:nvPr userDrawn="1"/>
        </p:nvGrpSpPr>
        <p:grpSpPr bwMode="invGray">
          <a:xfrm>
            <a:off x="10631009" y="6255870"/>
            <a:ext cx="1141891" cy="305272"/>
            <a:chOff x="428899" y="5990132"/>
            <a:chExt cx="1595844" cy="426631"/>
          </a:xfrm>
        </p:grpSpPr>
        <p:pic>
          <p:nvPicPr>
            <p:cNvPr id="10" name="Picture 9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11F14EC3-7DCD-4EC7-B004-9179DA5D45E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invGray">
            <a:xfrm>
              <a:off x="428899" y="5990132"/>
              <a:ext cx="442640" cy="426631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C6A1C6BA-6318-4B9F-B826-DB15AB00F56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 bwMode="invGray">
            <a:xfrm>
              <a:off x="927916" y="6093620"/>
              <a:ext cx="1096827" cy="2805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6973946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ntent Center Dark">
    <p:bg bwMode="inv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11347704" cy="996696"/>
          </a:xfr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A8F0D15-CB15-9648-B749-FFE0177DF0CC}"/>
              </a:ext>
            </a:extLst>
          </p:cNvPr>
          <p:cNvSpPr/>
          <p:nvPr userDrawn="1"/>
        </p:nvSpPr>
        <p:spPr>
          <a:xfrm>
            <a:off x="0" y="6792748"/>
            <a:ext cx="12192000" cy="89262"/>
          </a:xfrm>
          <a:prstGeom prst="rect">
            <a:avLst/>
          </a:prstGeom>
          <a:solidFill>
            <a:srgbClr val="D322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7B5BF80-7760-4666-AA41-A50DAE1603A3}"/>
              </a:ext>
            </a:extLst>
          </p:cNvPr>
          <p:cNvSpPr txBox="1"/>
          <p:nvPr userDrawn="1"/>
        </p:nvSpPr>
        <p:spPr>
          <a:xfrm>
            <a:off x="415476" y="6390207"/>
            <a:ext cx="7306056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228600" indent="-228600"/>
            <a:fld id="{E19460A7-1930-4D5F-A936-CB6F16095A68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‹#›</a:t>
            </a:fld>
            <a:r>
              <a:rPr lang="en-US" sz="8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	      © 2021 Diligent Corporation</a:t>
            </a:r>
            <a:r>
              <a:rPr lang="en-US" sz="700" b="0">
                <a:solidFill>
                  <a:schemeClr val="bg1"/>
                </a:solidFill>
              </a:rPr>
              <a:t>	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BDCE514-90D4-4ED2-825C-B39066D22585}"/>
              </a:ext>
            </a:extLst>
          </p:cNvPr>
          <p:cNvGrpSpPr/>
          <p:nvPr userDrawn="1"/>
        </p:nvGrpSpPr>
        <p:grpSpPr bwMode="invGray">
          <a:xfrm>
            <a:off x="10631009" y="6255870"/>
            <a:ext cx="1141891" cy="305272"/>
            <a:chOff x="428899" y="5990132"/>
            <a:chExt cx="1595844" cy="426631"/>
          </a:xfrm>
        </p:grpSpPr>
        <p:pic>
          <p:nvPicPr>
            <p:cNvPr id="7" name="Picture 6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9964AD4E-0487-4345-B73E-710EF06F521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invGray">
            <a:xfrm>
              <a:off x="428899" y="5990132"/>
              <a:ext cx="442640" cy="426631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8D3ED034-9589-417A-827A-475017CBC4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 bwMode="invGray">
            <a:xfrm>
              <a:off x="927916" y="6093620"/>
              <a:ext cx="1096827" cy="2805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2994760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bg bwMode="inv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F4B80360-0BEB-4D80-B84C-6D872C5D2342}"/>
              </a:ext>
            </a:extLst>
          </p:cNvPr>
          <p:cNvGrpSpPr/>
          <p:nvPr userDrawn="1"/>
        </p:nvGrpSpPr>
        <p:grpSpPr bwMode="invGray">
          <a:xfrm>
            <a:off x="4469637" y="2990802"/>
            <a:ext cx="3278220" cy="876396"/>
            <a:chOff x="428899" y="5990132"/>
            <a:chExt cx="1595844" cy="426631"/>
          </a:xfrm>
        </p:grpSpPr>
        <p:pic>
          <p:nvPicPr>
            <p:cNvPr id="7" name="Picture 6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C8E6FA25-6EEE-4506-8DC6-728BE20AB67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invGray">
            <a:xfrm>
              <a:off x="428899" y="5990132"/>
              <a:ext cx="442640" cy="426631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38AF8E4E-2525-4302-8D0B-C3DE356B805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 bwMode="invGray">
            <a:xfrm>
              <a:off x="927916" y="6093620"/>
              <a:ext cx="1096827" cy="2805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532443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Title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6390A8-5E3F-4600-8158-C8E720D05C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9768" y="1477538"/>
            <a:ext cx="9281160" cy="1393535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5000"/>
              </a:lnSpc>
              <a:defRPr sz="4000" b="1" i="0" baseline="0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38F7015-339C-4C91-A852-8647EB8750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9768" y="2918048"/>
            <a:ext cx="9281160" cy="760794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Bef>
                <a:spcPts val="1800"/>
              </a:spcBef>
              <a:buNone/>
              <a:defRPr sz="4000">
                <a:solidFill>
                  <a:schemeClr val="tx1"/>
                </a:solidFill>
                <a:latin typeface="+mn-lt"/>
                <a:ea typeface="Proxima Nova Thin" panose="02000506030000020004" pitchFamily="50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ECC8D1-08DE-48CF-B074-D2C2EE8B17A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9769" y="3774642"/>
            <a:ext cx="5818632" cy="1115568"/>
          </a:xfr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 i="1">
                <a:solidFill>
                  <a:schemeClr val="tx1"/>
                </a:solidFill>
              </a:defRPr>
            </a:lvl3pPr>
            <a:lvl4pPr marL="571500" indent="0">
              <a:buNone/>
              <a:defRPr>
                <a:solidFill>
                  <a:schemeClr val="bg1"/>
                </a:solidFill>
              </a:defRPr>
            </a:lvl4pPr>
            <a:lvl5pPr marL="7985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F7FE46C-1D04-5A4D-BBDC-686AB855C3DA}"/>
              </a:ext>
            </a:extLst>
          </p:cNvPr>
          <p:cNvSpPr/>
          <p:nvPr userDrawn="1"/>
        </p:nvSpPr>
        <p:spPr>
          <a:xfrm>
            <a:off x="0" y="145154"/>
            <a:ext cx="12192000" cy="87915"/>
          </a:xfrm>
          <a:prstGeom prst="rect">
            <a:avLst/>
          </a:prstGeom>
          <a:solidFill>
            <a:srgbClr val="EE31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CAFBB0-F896-D94C-B698-C4C6B6811E8C}"/>
              </a:ext>
            </a:extLst>
          </p:cNvPr>
          <p:cNvSpPr/>
          <p:nvPr userDrawn="1"/>
        </p:nvSpPr>
        <p:spPr>
          <a:xfrm>
            <a:off x="0" y="-11262"/>
            <a:ext cx="12192000" cy="163005"/>
          </a:xfrm>
          <a:prstGeom prst="rect">
            <a:avLst/>
          </a:prstGeom>
          <a:solidFill>
            <a:srgbClr val="AF29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Shape&#10;&#10;Description automatically generated with medium confidence">
            <a:extLst>
              <a:ext uri="{FF2B5EF4-FFF2-40B4-BE49-F238E27FC236}">
                <a16:creationId xmlns:a16="http://schemas.microsoft.com/office/drawing/2014/main" id="{DE983368-766C-4636-99D6-EBC5C354E5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26982" y="5996851"/>
            <a:ext cx="1600200" cy="427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536117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6390A8-5E3F-4600-8158-C8E720D05C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6401" y="1521428"/>
            <a:ext cx="6618536" cy="1393535"/>
          </a:xfrm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000" b="1" i="0" baseline="0">
                <a:solidFill>
                  <a:schemeClr val="bg2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38F7015-339C-4C91-A852-8647EB8750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369" y="2874158"/>
            <a:ext cx="6624552" cy="760794"/>
          </a:xfrm>
        </p:spPr>
        <p:txBody>
          <a:bodyPr>
            <a:noAutofit/>
          </a:bodyPr>
          <a:lstStyle>
            <a:lvl1pPr marL="0" indent="0" algn="l">
              <a:lnSpc>
                <a:spcPct val="85000"/>
              </a:lnSpc>
              <a:spcBef>
                <a:spcPts val="1800"/>
              </a:spcBef>
              <a:buNone/>
              <a:defRPr sz="4000">
                <a:solidFill>
                  <a:schemeClr val="bg2"/>
                </a:solidFill>
                <a:latin typeface="+mn-lt"/>
                <a:ea typeface="Proxima Nova Th" panose="02000506030000020004" pitchFamily="50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3C0F02B4-E058-4BFC-B3F3-5B6B872A52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6401" y="3604872"/>
            <a:ext cx="6624552" cy="476250"/>
          </a:xfrm>
        </p:spPr>
        <p:txBody>
          <a:bodyPr anchor="b" anchorCtr="0">
            <a:noAutofit/>
          </a:bodyPr>
          <a:lstStyle>
            <a:lvl1pPr marL="0" indent="0">
              <a:lnSpc>
                <a:spcPct val="85000"/>
              </a:lnSpc>
              <a:buNone/>
              <a:defRPr sz="1800">
                <a:solidFill>
                  <a:schemeClr val="bg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F7FE46C-1D04-5A4D-BBDC-686AB855C3DA}"/>
              </a:ext>
            </a:extLst>
          </p:cNvPr>
          <p:cNvSpPr/>
          <p:nvPr userDrawn="1"/>
        </p:nvSpPr>
        <p:spPr>
          <a:xfrm>
            <a:off x="0" y="145154"/>
            <a:ext cx="12192000" cy="879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8901A0A8-B0D8-4249-A265-9397F4E450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2417" y="440616"/>
            <a:ext cx="15827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US" sz="1600" kern="1200" smtClean="0">
                <a:solidFill>
                  <a:schemeClr val="bg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BAE1954-EAE0-4510-BA87-75AB34EE0093}" type="datetime1">
              <a:rPr lang="en-US" smtClean="0"/>
              <a:t>11/22/2022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CAFBB0-F896-D94C-B698-C4C6B6811E8C}"/>
              </a:ext>
            </a:extLst>
          </p:cNvPr>
          <p:cNvSpPr/>
          <p:nvPr userDrawn="1"/>
        </p:nvSpPr>
        <p:spPr>
          <a:xfrm>
            <a:off x="0" y="-11262"/>
            <a:ext cx="12192000" cy="1630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2" descr="Diligent">
            <a:extLst>
              <a:ext uri="{FF2B5EF4-FFF2-40B4-BE49-F238E27FC236}">
                <a16:creationId xmlns:a16="http://schemas.microsoft.com/office/drawing/2014/main" id="{8ABE7620-BCFE-4585-A682-95E3D7D0C8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689" y="5976932"/>
            <a:ext cx="1395971" cy="486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284482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GB" smtClean="0"/>
              <a:t>22/11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51033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 bwMode="inv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6390A8-5E3F-4600-8158-C8E720D05C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9768" y="1385205"/>
            <a:ext cx="7761694" cy="1393535"/>
          </a:xfrm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000" b="1" i="0" baseline="0">
                <a:solidFill>
                  <a:schemeClr val="bg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38F7015-339C-4C91-A852-8647EB8750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9767" y="2795429"/>
            <a:ext cx="7761693" cy="1644427"/>
          </a:xfrm>
        </p:spPr>
        <p:txBody>
          <a:bodyPr>
            <a:noAutofit/>
          </a:bodyPr>
          <a:lstStyle>
            <a:lvl1pPr marL="0" indent="0" algn="l">
              <a:spcBef>
                <a:spcPts val="1800"/>
              </a:spcBef>
              <a:buNone/>
              <a:defRPr sz="4000">
                <a:solidFill>
                  <a:schemeClr val="bg1"/>
                </a:solidFill>
                <a:latin typeface="+mn-lt"/>
                <a:ea typeface="Proxima Nova Thin" panose="02000506030000020004" pitchFamily="50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0BF4C6B-8803-CA47-9BE9-8D6EEEB6700C}"/>
              </a:ext>
            </a:extLst>
          </p:cNvPr>
          <p:cNvSpPr/>
          <p:nvPr userDrawn="1"/>
        </p:nvSpPr>
        <p:spPr>
          <a:xfrm>
            <a:off x="419062" y="403329"/>
            <a:ext cx="7772400" cy="89262"/>
          </a:xfrm>
          <a:prstGeom prst="rect">
            <a:avLst/>
          </a:prstGeom>
          <a:solidFill>
            <a:srgbClr val="AF29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3F216D-9C02-0D45-989A-55FE3BE64D57}"/>
              </a:ext>
            </a:extLst>
          </p:cNvPr>
          <p:cNvSpPr/>
          <p:nvPr userDrawn="1"/>
        </p:nvSpPr>
        <p:spPr>
          <a:xfrm>
            <a:off x="419062" y="4898316"/>
            <a:ext cx="7772400" cy="89262"/>
          </a:xfrm>
          <a:prstGeom prst="rect">
            <a:avLst/>
          </a:prstGeom>
          <a:solidFill>
            <a:srgbClr val="EE31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CF5D9BA-906F-474B-B59A-418C2A87D706}"/>
              </a:ext>
            </a:extLst>
          </p:cNvPr>
          <p:cNvSpPr txBox="1"/>
          <p:nvPr userDrawn="1"/>
        </p:nvSpPr>
        <p:spPr>
          <a:xfrm>
            <a:off x="415476" y="6390207"/>
            <a:ext cx="7306056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228600" indent="-228600"/>
            <a:fld id="{E19460A7-1930-4D5F-A936-CB6F16095A68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‹#›</a:t>
            </a:fld>
            <a:r>
              <a:rPr lang="en-US" sz="8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	      © 2021 Diligent Corporation</a:t>
            </a:r>
            <a:r>
              <a:rPr lang="en-US" sz="700" b="0">
                <a:solidFill>
                  <a:schemeClr val="bg1"/>
                </a:solidFill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7765512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Section Header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6390A8-5E3F-4600-8158-C8E720D05C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9768" y="1385205"/>
            <a:ext cx="7761694" cy="1393535"/>
          </a:xfrm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000" b="1" i="0" baseline="0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38F7015-339C-4C91-A852-8647EB8750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9767" y="2795429"/>
            <a:ext cx="7761693" cy="1644427"/>
          </a:xfrm>
        </p:spPr>
        <p:txBody>
          <a:bodyPr>
            <a:noAutofit/>
          </a:bodyPr>
          <a:lstStyle>
            <a:lvl1pPr marL="0" indent="0" algn="l">
              <a:spcBef>
                <a:spcPts val="1800"/>
              </a:spcBef>
              <a:buNone/>
              <a:defRPr sz="4000">
                <a:solidFill>
                  <a:schemeClr val="tx1"/>
                </a:solidFill>
                <a:latin typeface="+mn-lt"/>
                <a:ea typeface="Proxima Nova Thin" panose="02000506030000020004" pitchFamily="50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0BF4C6B-8803-CA47-9BE9-8D6EEEB6700C}"/>
              </a:ext>
            </a:extLst>
          </p:cNvPr>
          <p:cNvSpPr/>
          <p:nvPr userDrawn="1"/>
        </p:nvSpPr>
        <p:spPr>
          <a:xfrm>
            <a:off x="419062" y="403329"/>
            <a:ext cx="7772400" cy="89262"/>
          </a:xfrm>
          <a:prstGeom prst="rect">
            <a:avLst/>
          </a:prstGeom>
          <a:solidFill>
            <a:srgbClr val="AF29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3F216D-9C02-0D45-989A-55FE3BE64D57}"/>
              </a:ext>
            </a:extLst>
          </p:cNvPr>
          <p:cNvSpPr/>
          <p:nvPr userDrawn="1"/>
        </p:nvSpPr>
        <p:spPr>
          <a:xfrm>
            <a:off x="419062" y="4898316"/>
            <a:ext cx="7772400" cy="89262"/>
          </a:xfrm>
          <a:prstGeom prst="rect">
            <a:avLst/>
          </a:prstGeom>
          <a:solidFill>
            <a:srgbClr val="EE31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CF5D9BA-906F-474B-B59A-418C2A87D706}"/>
              </a:ext>
            </a:extLst>
          </p:cNvPr>
          <p:cNvSpPr txBox="1"/>
          <p:nvPr userDrawn="1"/>
        </p:nvSpPr>
        <p:spPr>
          <a:xfrm>
            <a:off x="415476" y="6390207"/>
            <a:ext cx="7306056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228600" indent="-228600"/>
            <a:fld id="{E19460A7-1930-4D5F-A936-CB6F16095A68}" type="slidenum">
              <a:rPr lang="en-US" sz="80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‹#›</a:t>
            </a:fld>
            <a:r>
              <a:rPr lang="en-US" sz="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	      © 2021 Diligent Corporation</a:t>
            </a:r>
            <a:r>
              <a:rPr lang="en-US" sz="700" b="0">
                <a:solidFill>
                  <a:schemeClr val="tx1"/>
                </a:solidFill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48202220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435265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11343132" cy="996696"/>
          </a:xfrm>
        </p:spPr>
        <p:txBody>
          <a:bodyPr lIns="0" tIns="0" rIns="0"/>
          <a:lstStyle>
            <a:lvl1pPr>
              <a:defRPr b="1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911996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C8AD577-0F3C-0140-B122-EC318857F9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68" y="1007073"/>
            <a:ext cx="11343132" cy="446087"/>
          </a:xfrm>
        </p:spPr>
        <p:txBody>
          <a:bodyPr lIns="0">
            <a:noAutofit/>
          </a:bodyPr>
          <a:lstStyle>
            <a:lvl1pPr marL="0" indent="0">
              <a:lnSpc>
                <a:spcPct val="85000"/>
              </a:lnSpc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11338480" cy="996696"/>
          </a:xfrm>
        </p:spPr>
        <p:txBody>
          <a:bodyPr lIns="0"/>
          <a:lstStyle>
            <a:lvl1pPr>
              <a:defRPr b="1" i="0" baseline="0">
                <a:solidFill>
                  <a:srgbClr val="EE312E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7457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C8AD577-0F3C-0140-B122-EC318857F9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68" y="1007073"/>
            <a:ext cx="11343132" cy="446087"/>
          </a:xfrm>
        </p:spPr>
        <p:txBody>
          <a:bodyPr lIns="0">
            <a:noAutofit/>
          </a:bodyPr>
          <a:lstStyle>
            <a:lvl1pPr marL="0" indent="0">
              <a:lnSpc>
                <a:spcPct val="85000"/>
              </a:lnSpc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08A1-9BF7-49B9-AC33-95323059018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768" y="1947672"/>
            <a:ext cx="11343132" cy="4110228"/>
          </a:xfrm>
        </p:spPr>
        <p:txBody>
          <a:bodyPr lIns="0"/>
          <a:lstStyle>
            <a:lvl1pPr marL="234950" indent="-23495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12E"/>
              </a:buClr>
              <a:buFont typeface="Arial" panose="020B0604020202020204" pitchFamily="34" charset="0"/>
              <a:buChar char="•"/>
              <a:tabLst>
                <a:tab pos="2225675" algn="l"/>
              </a:tabLst>
              <a:defRPr sz="24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87388" indent="-347663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‒"/>
              <a:tabLst>
                <a:tab pos="2225675" algn="l"/>
              </a:tabLst>
              <a:defRPr sz="24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1027113" indent="-225425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2225675" algn="l"/>
              </a:tabLst>
              <a:defRPr sz="24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>
              <a:spcBef>
                <a:spcPts val="600"/>
              </a:spcBef>
              <a:spcAft>
                <a:spcPts val="600"/>
              </a:spcAft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Bef>
                <a:spcPts val="600"/>
              </a:spcBef>
              <a:spcAft>
                <a:spcPts val="600"/>
              </a:spcAft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11343132" cy="996696"/>
          </a:xfrm>
        </p:spPr>
        <p:txBody>
          <a:bodyPr lIns="0"/>
          <a:lstStyle>
            <a:lvl1pPr>
              <a:defRPr b="1" i="0" baseline="0">
                <a:solidFill>
                  <a:srgbClr val="EE312E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041854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08A1-9BF7-49B9-AC33-95323059018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768" y="1947672"/>
            <a:ext cx="5513832" cy="4110228"/>
          </a:xfrm>
        </p:spPr>
        <p:txBody>
          <a:bodyPr lIns="0" tIns="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489075" indent="-234950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11343132" cy="996696"/>
          </a:xfrm>
        </p:spPr>
        <p:txBody>
          <a:bodyPr lIns="0" tIns="0"/>
          <a:lstStyle>
            <a:lvl1pPr>
              <a:defRPr b="1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9D8FD07-CDA3-400E-B3E1-23A4E9D70B88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259068" y="1947672"/>
            <a:ext cx="5513832" cy="4110228"/>
          </a:xfrm>
        </p:spPr>
        <p:txBody>
          <a:bodyPr lIns="0" tIns="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Proxima Nova Light" panose="02000506030000020004" pitchFamily="50" charset="0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544638" indent="-23336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BD48DA0-0FE8-48DC-8A01-D7EFE4FF0F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68" y="1007073"/>
            <a:ext cx="11343132" cy="446087"/>
          </a:xfrm>
        </p:spPr>
        <p:txBody>
          <a:bodyPr lIns="0">
            <a:noAutofit/>
          </a:bodyPr>
          <a:lstStyle>
            <a:lvl1pPr marL="0" indent="0">
              <a:lnSpc>
                <a:spcPct val="85000"/>
              </a:lnSpc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931884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EE4E76-0782-4376-AF3A-725CC2D87F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5116" y="1943100"/>
            <a:ext cx="11347784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856CC04-E34F-4B04-AE13-C41E2C7970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116" y="427120"/>
            <a:ext cx="11347784" cy="9965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4991304-C530-6047-A722-E88DC72EF25E}"/>
              </a:ext>
            </a:extLst>
          </p:cNvPr>
          <p:cNvSpPr/>
          <p:nvPr userDrawn="1"/>
        </p:nvSpPr>
        <p:spPr>
          <a:xfrm>
            <a:off x="0" y="6786732"/>
            <a:ext cx="12192000" cy="71268"/>
          </a:xfrm>
          <a:prstGeom prst="rect">
            <a:avLst/>
          </a:prstGeom>
          <a:solidFill>
            <a:srgbClr val="D322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1C432A9-0CB3-4AFF-AA46-F95DD30BD240}"/>
              </a:ext>
            </a:extLst>
          </p:cNvPr>
          <p:cNvSpPr txBox="1"/>
          <p:nvPr userDrawn="1"/>
        </p:nvSpPr>
        <p:spPr>
          <a:xfrm>
            <a:off x="415476" y="6390207"/>
            <a:ext cx="7306056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228600" indent="-228600"/>
            <a:fld id="{E19460A7-1930-4D5F-A936-CB6F16095A68}" type="slidenum">
              <a:rPr lang="en-US" sz="80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‹#›</a:t>
            </a:fld>
            <a:r>
              <a:rPr lang="en-US" sz="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	      © 2022 Diligent Corporation</a:t>
            </a:r>
            <a:r>
              <a:rPr lang="en-US" sz="700" b="0">
                <a:solidFill>
                  <a:schemeClr val="tx1"/>
                </a:solidFill>
              </a:rPr>
              <a:t>	</a:t>
            </a:r>
          </a:p>
        </p:txBody>
      </p:sp>
      <p:pic>
        <p:nvPicPr>
          <p:cNvPr id="8" name="Picture 7" descr="Shape&#10;&#10;Description automatically generated with medium confidence">
            <a:extLst>
              <a:ext uri="{FF2B5EF4-FFF2-40B4-BE49-F238E27FC236}">
                <a16:creationId xmlns:a16="http://schemas.microsoft.com/office/drawing/2014/main" id="{80B9320A-832A-4E24-B540-988491E0ACAA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9900" y="6254799"/>
            <a:ext cx="1143000" cy="305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30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741" r:id="rId2"/>
    <p:sldLayoutId id="2147483725" r:id="rId3"/>
    <p:sldLayoutId id="2147483742" r:id="rId4"/>
    <p:sldLayoutId id="2147483731" r:id="rId5"/>
    <p:sldLayoutId id="2147483726" r:id="rId6"/>
    <p:sldLayoutId id="2147483732" r:id="rId7"/>
    <p:sldLayoutId id="2147483686" r:id="rId8"/>
    <p:sldLayoutId id="2147483733" r:id="rId9"/>
    <p:sldLayoutId id="2147483738" r:id="rId10"/>
    <p:sldLayoutId id="2147483734" r:id="rId11"/>
    <p:sldLayoutId id="2147483736" r:id="rId12"/>
    <p:sldLayoutId id="2147483735" r:id="rId13"/>
    <p:sldLayoutId id="2147483737" r:id="rId14"/>
    <p:sldLayoutId id="2147483723" r:id="rId15"/>
    <p:sldLayoutId id="2147483709" r:id="rId16"/>
    <p:sldLayoutId id="2147483740" r:id="rId17"/>
    <p:sldLayoutId id="2147483728" r:id="rId18"/>
    <p:sldLayoutId id="2147483707" r:id="rId19"/>
    <p:sldLayoutId id="2147483743" r:id="rId20"/>
    <p:sldLayoutId id="2147483747" r:id="rId21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1" i="0" kern="1200">
          <a:solidFill>
            <a:srgbClr val="EE312E"/>
          </a:solidFill>
          <a:latin typeface="+mj-lt"/>
          <a:ea typeface="Arial" panose="020B0604020202020204" pitchFamily="34" charset="0"/>
          <a:cs typeface="Arial" panose="020B0604020202020204" pitchFamily="34" charset="0"/>
        </a:defRPr>
      </a:lvl1pPr>
    </p:titleStyle>
    <p:bodyStyle>
      <a:lvl1pPr marL="227013" indent="-227013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>
          <a:srgbClr val="EE312E"/>
        </a:buClr>
        <a:buFont typeface="Arial" panose="020B0604020202020204" pitchFamily="34" charset="0"/>
        <a:buChar char="•"/>
        <a:defRPr sz="2400" kern="1200">
          <a:solidFill>
            <a:schemeClr val="bg2"/>
          </a:solidFill>
          <a:latin typeface="+mn-lt"/>
          <a:ea typeface="Proxima Nova Light" panose="02000506030000020004" pitchFamily="50" charset="0"/>
          <a:cs typeface="Arial" panose="020B0604020202020204" pitchFamily="34" charset="0"/>
        </a:defRPr>
      </a:lvl1pPr>
      <a:lvl2pPr marL="687388" indent="-347663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>
          <a:srgbClr val="EE312E"/>
        </a:buClr>
        <a:buSzPct val="100000"/>
        <a:buFont typeface="Arial" panose="020B0604020202020204" pitchFamily="34" charset="0"/>
        <a:buChar char="‒"/>
        <a:tabLst>
          <a:tab pos="2459038" algn="l"/>
        </a:tabLst>
        <a:defRPr sz="2400" kern="1200">
          <a:solidFill>
            <a:schemeClr val="bg2"/>
          </a:solidFill>
          <a:latin typeface="+mn-lt"/>
          <a:ea typeface="Proxima Nova Light" panose="02000506030000020004" pitchFamily="50" charset="0"/>
          <a:cs typeface="Arial" panose="020B0604020202020204" pitchFamily="34" charset="0"/>
        </a:defRPr>
      </a:lvl2pPr>
      <a:lvl3pPr marL="1027113" indent="-225425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>
          <a:srgbClr val="EE312E"/>
        </a:buClr>
        <a:buSzPct val="100000"/>
        <a:buFont typeface="Arial" panose="020B0604020202020204" pitchFamily="34" charset="0"/>
        <a:buChar char="•"/>
        <a:defRPr sz="2400" kern="1200">
          <a:solidFill>
            <a:schemeClr val="bg2"/>
          </a:solidFill>
          <a:latin typeface="+mn-lt"/>
          <a:ea typeface="Proxima Nova Light" panose="02000506030000020004" pitchFamily="50" charset="0"/>
          <a:cs typeface="Arial" panose="020B0604020202020204" pitchFamily="34" charset="0"/>
        </a:defRPr>
      </a:lvl3pPr>
      <a:lvl4pPr marL="1431925" indent="-347663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>
          <a:srgbClr val="EE312E"/>
        </a:buClr>
        <a:buSzPct val="100000"/>
        <a:buFont typeface="Arial" panose="020B0604020202020204" pitchFamily="34" charset="0"/>
        <a:buChar char="‒"/>
        <a:defRPr sz="2400" kern="1200">
          <a:solidFill>
            <a:schemeClr val="bg2"/>
          </a:solidFill>
          <a:latin typeface="+mn-lt"/>
          <a:ea typeface="Proxima Nova Light" panose="02000506030000020004" pitchFamily="50" charset="0"/>
          <a:cs typeface="Arial" panose="020B0604020202020204" pitchFamily="34" charset="0"/>
        </a:defRPr>
      </a:lvl4pPr>
      <a:lvl5pPr marL="1716088" indent="-227013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>
          <a:srgbClr val="EE312E"/>
        </a:buClr>
        <a:buSzPct val="100000"/>
        <a:buFont typeface="Arial" panose="020B0604020202020204" pitchFamily="34" charset="0"/>
        <a:buChar char="•"/>
        <a:defRPr sz="2400" kern="1200">
          <a:solidFill>
            <a:schemeClr val="bg2"/>
          </a:solidFill>
          <a:latin typeface="+mn-lt"/>
          <a:ea typeface="Proxima Nova Light" panose="02000506030000020004" pitchFamily="50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264" userDrawn="1">
          <p15:clr>
            <a:srgbClr val="F26B43"/>
          </p15:clr>
        </p15:guide>
        <p15:guide id="4" pos="7416" userDrawn="1">
          <p15:clr>
            <a:srgbClr val="F26B43"/>
          </p15:clr>
        </p15:guide>
        <p15:guide id="5" orient="horz" pos="3816" userDrawn="1">
          <p15:clr>
            <a:srgbClr val="F26B43"/>
          </p15:clr>
        </p15:guide>
        <p15:guide id="6" orient="horz" pos="264" userDrawn="1">
          <p15:clr>
            <a:srgbClr val="F26B43"/>
          </p15:clr>
        </p15:guide>
        <p15:guide id="7" orient="horz" pos="1224" userDrawn="1">
          <p15:clr>
            <a:srgbClr val="F26B43"/>
          </p15:clr>
        </p15:guide>
        <p15:guide id="8" pos="3936" userDrawn="1">
          <p15:clr>
            <a:srgbClr val="F26B43"/>
          </p15:clr>
        </p15:guide>
        <p15:guide id="9" pos="374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1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D1C78A-E4DA-4117-9D19-408D8FCE3B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D1C78A-E4DA-4117-9D19-408D8FCE3B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A4737F0-5D35-45E4-A327-00B6620A63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9768" y="3953610"/>
            <a:ext cx="9281160" cy="1393535"/>
          </a:xfrm>
        </p:spPr>
        <p:txBody>
          <a:bodyPr vert="horz"/>
          <a:lstStyle/>
          <a:p>
            <a:r>
              <a:rPr lang="en-US" sz="6000"/>
              <a:t>Cybersecurity Presentation Template</a:t>
            </a:r>
          </a:p>
        </p:txBody>
      </p:sp>
    </p:spTree>
    <p:extLst>
      <p:ext uri="{BB962C8B-B14F-4D97-AF65-F5344CB8AC3E}">
        <p14:creationId xmlns:p14="http://schemas.microsoft.com/office/powerpoint/2010/main" val="48504130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42323E21-A0DD-4549-84C8-B6BDB9C018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9310841"/>
              </p:ext>
            </p:extLst>
          </p:nvPr>
        </p:nvGraphicFramePr>
        <p:xfrm>
          <a:off x="464342" y="1048899"/>
          <a:ext cx="11308556" cy="5033928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827139">
                  <a:extLst>
                    <a:ext uri="{9D8B030D-6E8A-4147-A177-3AD203B41FA5}">
                      <a16:colId xmlns:a16="http://schemas.microsoft.com/office/drawing/2014/main" val="1404469923"/>
                    </a:ext>
                  </a:extLst>
                </a:gridCol>
                <a:gridCol w="2827139">
                  <a:extLst>
                    <a:ext uri="{9D8B030D-6E8A-4147-A177-3AD203B41FA5}">
                      <a16:colId xmlns:a16="http://schemas.microsoft.com/office/drawing/2014/main" val="4293323047"/>
                    </a:ext>
                  </a:extLst>
                </a:gridCol>
                <a:gridCol w="2827139">
                  <a:extLst>
                    <a:ext uri="{9D8B030D-6E8A-4147-A177-3AD203B41FA5}">
                      <a16:colId xmlns:a16="http://schemas.microsoft.com/office/drawing/2014/main" val="209838900"/>
                    </a:ext>
                  </a:extLst>
                </a:gridCol>
                <a:gridCol w="2827139">
                  <a:extLst>
                    <a:ext uri="{9D8B030D-6E8A-4147-A177-3AD203B41FA5}">
                      <a16:colId xmlns:a16="http://schemas.microsoft.com/office/drawing/2014/main" val="3187582571"/>
                    </a:ext>
                  </a:extLst>
                </a:gridCol>
              </a:tblGrid>
              <a:tr h="7637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>
                          <a:effectLst/>
                        </a:rPr>
                        <a:t>Business Risk Profile</a:t>
                      </a:r>
                      <a:endParaRPr lang="en-US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>
                          <a:effectLst/>
                        </a:rPr>
                        <a:t>Sources</a:t>
                      </a:r>
                      <a:endParaRPr lang="en-US" sz="10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Risk Drives</a:t>
                      </a:r>
                      <a:endParaRPr lang="en-US" sz="10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>
                          <a:effectLst/>
                        </a:rPr>
                        <a:t>Cybersecurity Program Highlights </a:t>
                      </a:r>
                      <a:endParaRPr lang="en-US" sz="1000"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10570470"/>
                  </a:ext>
                </a:extLst>
              </a:tr>
              <a:tr h="1377471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b="1">
                          <a:solidFill>
                            <a:schemeClr val="bg2"/>
                          </a:solidFill>
                        </a:rPr>
                        <a:t>Inherent Risk Level:  </a:t>
                      </a:r>
                    </a:p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</a:rPr>
                        <a:t>Moderate</a:t>
                      </a:r>
                      <a:r>
                        <a:rPr lang="en-US" sz="1400" b="1">
                          <a:solidFill>
                            <a:schemeClr val="bg2"/>
                          </a:solidFill>
                        </a:rPr>
                        <a:t>  </a:t>
                      </a:r>
                      <a:br>
                        <a:rPr lang="en-US" sz="1000"/>
                      </a:br>
                      <a:r>
                        <a:rPr lang="en-US" sz="1000"/>
                        <a:t>Based on 5 risk levels as defined </a:t>
                      </a:r>
                      <a:br>
                        <a:rPr lang="en-US" sz="1000"/>
                      </a:br>
                      <a:r>
                        <a:rPr lang="en-US" sz="1000"/>
                        <a:t>by industry risk management frameworks: least, minimal, moderate, significant, and mo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- Lorem ipsum dolor sit </a:t>
                      </a:r>
                      <a:r>
                        <a:rPr lang="en-US" sz="1000" err="1"/>
                        <a:t>amet</a:t>
                      </a:r>
                      <a:endParaRPr lang="en-US" sz="1000"/>
                    </a:p>
                    <a:p>
                      <a:r>
                        <a:rPr lang="en-US" sz="1000"/>
                        <a:t>- Lorem ipsum dolor sit </a:t>
                      </a:r>
                      <a:r>
                        <a:rPr lang="en-US" sz="1000" err="1"/>
                        <a:t>amet</a:t>
                      </a:r>
                      <a:endParaRPr lang="en-US" sz="1000"/>
                    </a:p>
                    <a:p>
                      <a:r>
                        <a:rPr lang="en-US" sz="1000"/>
                        <a:t>- Lorem ipsum dolor sit </a:t>
                      </a:r>
                      <a:r>
                        <a:rPr lang="en-US" sz="1000" err="1"/>
                        <a:t>amet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- Lorem ipsum dolor sit </a:t>
                      </a:r>
                      <a:r>
                        <a:rPr lang="en-US" sz="1000" err="1"/>
                        <a:t>amet</a:t>
                      </a:r>
                      <a:endParaRPr lang="en-US" sz="1000"/>
                    </a:p>
                    <a:p>
                      <a:r>
                        <a:rPr lang="en-US" sz="1000"/>
                        <a:t>- Lorem ipsum dolor sit </a:t>
                      </a:r>
                      <a:r>
                        <a:rPr lang="en-US" sz="1000" err="1"/>
                        <a:t>amet</a:t>
                      </a:r>
                      <a:endParaRPr lang="en-US" sz="1000"/>
                    </a:p>
                    <a:p>
                      <a:r>
                        <a:rPr lang="en-US" sz="1000"/>
                        <a:t>- Lorem ipsum dolor sit </a:t>
                      </a:r>
                      <a:r>
                        <a:rPr lang="en-US" sz="1000" err="1"/>
                        <a:t>amet</a:t>
                      </a:r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- Lorem ipsum dolor sit </a:t>
                      </a:r>
                      <a:r>
                        <a:rPr lang="en-US" sz="1000" err="1"/>
                        <a:t>amet</a:t>
                      </a:r>
                      <a:endParaRPr lang="en-US" sz="1000"/>
                    </a:p>
                    <a:p>
                      <a:r>
                        <a:rPr lang="en-US" sz="1000"/>
                        <a:t>- Lorem ipsum dolor sit </a:t>
                      </a:r>
                      <a:r>
                        <a:rPr lang="en-US" sz="1000" err="1"/>
                        <a:t>amet</a:t>
                      </a:r>
                      <a:endParaRPr lang="en-US" sz="1000"/>
                    </a:p>
                    <a:p>
                      <a:r>
                        <a:rPr lang="en-US" sz="1000"/>
                        <a:t>- Lorem ipsum dolor sit </a:t>
                      </a:r>
                      <a:r>
                        <a:rPr lang="en-US" sz="1000" err="1"/>
                        <a:t>amet</a:t>
                      </a:r>
                      <a:endParaRPr lang="en-US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8671022"/>
                  </a:ext>
                </a:extLst>
              </a:tr>
              <a:tr h="28927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>
                          <a:solidFill>
                            <a:schemeClr val="bg2"/>
                          </a:solidFill>
                          <a:ea typeface="+mn-lt"/>
                          <a:cs typeface="+mn-lt"/>
                        </a:rPr>
                        <a:t>Program Maturity Level (Based on NIST CSF 2019-2022)</a:t>
                      </a:r>
                      <a:endParaRPr lang="en-US" sz="1400">
                        <a:solidFill>
                          <a:schemeClr val="bg2"/>
                        </a:solidFill>
                        <a:cs typeface="Calibri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endParaRPr lang="en-US" sz="1000"/>
                    </a:p>
                  </a:txBody>
                  <a:tcPr marT="137160"/>
                </a:tc>
                <a:tc hMerge="1">
                  <a:txBody>
                    <a:bodyPr/>
                    <a:lstStyle/>
                    <a:p>
                      <a:endParaRPr lang="en-US" sz="100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>
                          <a:solidFill>
                            <a:schemeClr val="bg2"/>
                          </a:solidFill>
                          <a:ea typeface="+mn-lt"/>
                          <a:cs typeface="+mn-lt"/>
                        </a:rPr>
                        <a:t>NIST Cybersecurity Framework Maturity Level Comparison</a:t>
                      </a:r>
                      <a:endParaRPr lang="en-US" sz="1400">
                        <a:solidFill>
                          <a:schemeClr val="bg2"/>
                        </a:solidFill>
                      </a:endParaRPr>
                    </a:p>
                  </a:txBody>
                  <a:tcPr marT="137160"/>
                </a:tc>
                <a:tc hMerge="1">
                  <a:txBody>
                    <a:bodyPr/>
                    <a:lstStyle/>
                    <a:p>
                      <a:endParaRPr lang="en-US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0538648"/>
                  </a:ext>
                </a:extLst>
              </a:tr>
            </a:tbl>
          </a:graphicData>
        </a:graphic>
      </p:graphicFrame>
      <p:pic>
        <p:nvPicPr>
          <p:cNvPr id="6" name="Picture 6" descr="Chart, radar chart&#10;&#10;Description automatically generated">
            <a:extLst>
              <a:ext uri="{FF2B5EF4-FFF2-40B4-BE49-F238E27FC236}">
                <a16:creationId xmlns:a16="http://schemas.microsoft.com/office/drawing/2014/main" id="{4B2B65C4-30D9-478C-A1C9-7638C87DA77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808" r="866" b="4926"/>
          <a:stretch/>
        </p:blipFill>
        <p:spPr>
          <a:xfrm>
            <a:off x="7665244" y="3792332"/>
            <a:ext cx="2719453" cy="199374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60EDB56-BC75-4CBB-97DA-4CA9346A9004}"/>
              </a:ext>
            </a:extLst>
          </p:cNvPr>
          <p:cNvSpPr txBox="1"/>
          <p:nvPr/>
        </p:nvSpPr>
        <p:spPr>
          <a:xfrm>
            <a:off x="438150" y="425517"/>
            <a:ext cx="5648323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2200" b="1">
                <a:solidFill>
                  <a:schemeClr val="bg2"/>
                </a:solidFill>
              </a:rPr>
              <a:t>Security Program Overview Dashboard</a:t>
            </a:r>
            <a:endParaRPr lang="en-US" sz="2200" b="1">
              <a:solidFill>
                <a:schemeClr val="bg2"/>
              </a:solidFill>
              <a:cs typeface="Calibri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0DD0C2A-4872-4A4D-BD1C-8E69307C1FE5}"/>
              </a:ext>
            </a:extLst>
          </p:cNvPr>
          <p:cNvSpPr/>
          <p:nvPr/>
        </p:nvSpPr>
        <p:spPr>
          <a:xfrm>
            <a:off x="945893" y="3708737"/>
            <a:ext cx="4719636" cy="2188214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lang="en-US" sz="1600" b="1" u="none" strike="noStrike" cap="none" err="1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70D6B2D0-FEAD-894D-B8B8-22A2F0C58D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4258600"/>
              </p:ext>
            </p:extLst>
          </p:nvPr>
        </p:nvGraphicFramePr>
        <p:xfrm>
          <a:off x="1115878" y="3792331"/>
          <a:ext cx="4549650" cy="18594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275818A8-E6AA-FF43-AC50-1BAADEF4DC4A}"/>
              </a:ext>
            </a:extLst>
          </p:cNvPr>
          <p:cNvSpPr txBox="1"/>
          <p:nvPr/>
        </p:nvSpPr>
        <p:spPr>
          <a:xfrm>
            <a:off x="1666235" y="5425712"/>
            <a:ext cx="93747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600"/>
              <a:t>TIER 1</a:t>
            </a:r>
            <a:br>
              <a:rPr lang="en-US" sz="600"/>
            </a:br>
            <a:r>
              <a:rPr lang="en-US" sz="600"/>
              <a:t>Par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6BA3AD1-D15C-AA47-B5A3-46079577530A}"/>
              </a:ext>
            </a:extLst>
          </p:cNvPr>
          <p:cNvSpPr txBox="1"/>
          <p:nvPr/>
        </p:nvSpPr>
        <p:spPr>
          <a:xfrm>
            <a:off x="2603714" y="5425712"/>
            <a:ext cx="93747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600"/>
              <a:t>TIER 2</a:t>
            </a:r>
            <a:br>
              <a:rPr lang="en-US" sz="600"/>
            </a:br>
            <a:r>
              <a:rPr lang="en-US" sz="600"/>
              <a:t>Risk-informe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2FFB7BE-A5DE-F541-B7C8-0C22B806C809}"/>
              </a:ext>
            </a:extLst>
          </p:cNvPr>
          <p:cNvSpPr txBox="1"/>
          <p:nvPr/>
        </p:nvSpPr>
        <p:spPr>
          <a:xfrm>
            <a:off x="3541193" y="5425712"/>
            <a:ext cx="93747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600"/>
              <a:t>TIER 3</a:t>
            </a:r>
            <a:br>
              <a:rPr lang="en-US" sz="600"/>
            </a:br>
            <a:r>
              <a:rPr lang="en-US" sz="600"/>
              <a:t>Repeatab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B4FFD1-4A74-494D-AA7F-3501A414E333}"/>
              </a:ext>
            </a:extLst>
          </p:cNvPr>
          <p:cNvSpPr txBox="1"/>
          <p:nvPr/>
        </p:nvSpPr>
        <p:spPr>
          <a:xfrm>
            <a:off x="4478671" y="5425712"/>
            <a:ext cx="9493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600"/>
              <a:t>TIER 4</a:t>
            </a:r>
            <a:br>
              <a:rPr lang="en-US" sz="600"/>
            </a:br>
            <a:r>
              <a:rPr lang="en-US" sz="600"/>
              <a:t>Adaptiv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B1FB8DE-62C5-FC40-93D4-8EBF39D66F50}"/>
              </a:ext>
            </a:extLst>
          </p:cNvPr>
          <p:cNvSpPr txBox="1"/>
          <p:nvPr/>
        </p:nvSpPr>
        <p:spPr>
          <a:xfrm>
            <a:off x="1666235" y="5681689"/>
            <a:ext cx="3761797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600" i="1">
                <a:solidFill>
                  <a:schemeClr val="accent5"/>
                </a:solidFill>
              </a:rPr>
              <a:t>NIST Cybersecurity Framework Maturity Level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FBDA9AB-A511-B24D-966B-91B47FAFB570}"/>
              </a:ext>
            </a:extLst>
          </p:cNvPr>
          <p:cNvSpPr txBox="1"/>
          <p:nvPr/>
        </p:nvSpPr>
        <p:spPr>
          <a:xfrm rot="16200000">
            <a:off x="301938" y="4595903"/>
            <a:ext cx="1611823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600" i="1">
                <a:solidFill>
                  <a:schemeClr val="accent5"/>
                </a:solidFill>
              </a:rPr>
              <a:t>NIST Cybersecurity Framework Function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AFE3810-0F85-4848-AF4D-087EA09C833A}"/>
              </a:ext>
            </a:extLst>
          </p:cNvPr>
          <p:cNvSpPr/>
          <p:nvPr/>
        </p:nvSpPr>
        <p:spPr>
          <a:xfrm>
            <a:off x="6526473" y="3792331"/>
            <a:ext cx="4866052" cy="2016770"/>
          </a:xfrm>
          <a:prstGeom prst="rect">
            <a:avLst/>
          </a:prstGeom>
          <a:solidFill>
            <a:schemeClr val="bg1"/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lang="en-US" sz="1600" b="1" u="none" strike="noStrike" cap="none" err="1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3D5148DB-819F-9F4E-8A4D-F5079B9DEEF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12688894"/>
              </p:ext>
            </p:extLst>
          </p:nvPr>
        </p:nvGraphicFramePr>
        <p:xfrm>
          <a:off x="6526473" y="3906547"/>
          <a:ext cx="4866052" cy="19025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509912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D5EFC56-A3FD-4A91-BC06-7902A98EBB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8412559"/>
              </p:ext>
            </p:extLst>
          </p:nvPr>
        </p:nvGraphicFramePr>
        <p:xfrm>
          <a:off x="438150" y="1211643"/>
          <a:ext cx="11334750" cy="48649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1927">
                  <a:extLst>
                    <a:ext uri="{9D8B030D-6E8A-4147-A177-3AD203B41FA5}">
                      <a16:colId xmlns:a16="http://schemas.microsoft.com/office/drawing/2014/main" val="671041927"/>
                    </a:ext>
                  </a:extLst>
                </a:gridCol>
                <a:gridCol w="1112230">
                  <a:extLst>
                    <a:ext uri="{9D8B030D-6E8A-4147-A177-3AD203B41FA5}">
                      <a16:colId xmlns:a16="http://schemas.microsoft.com/office/drawing/2014/main" val="3082964898"/>
                    </a:ext>
                  </a:extLst>
                </a:gridCol>
                <a:gridCol w="5461390">
                  <a:extLst>
                    <a:ext uri="{9D8B030D-6E8A-4147-A177-3AD203B41FA5}">
                      <a16:colId xmlns:a16="http://schemas.microsoft.com/office/drawing/2014/main" val="1435306996"/>
                    </a:ext>
                  </a:extLst>
                </a:gridCol>
                <a:gridCol w="2399203">
                  <a:extLst>
                    <a:ext uri="{9D8B030D-6E8A-4147-A177-3AD203B41FA5}">
                      <a16:colId xmlns:a16="http://schemas.microsoft.com/office/drawing/2014/main" val="3749119580"/>
                    </a:ext>
                  </a:extLst>
                </a:gridCol>
              </a:tblGrid>
              <a:tr h="605028">
                <a:tc>
                  <a:txBody>
                    <a:bodyPr/>
                    <a:lstStyle/>
                    <a:p>
                      <a:pPr marL="0" marR="0" algn="ctr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kern="1200">
                          <a:effectLst/>
                        </a:rPr>
                        <a:t>NIST Cybersecurity Framework</a:t>
                      </a:r>
                      <a:br>
                        <a:rPr lang="en-US" sz="1000" kern="1200">
                          <a:effectLst/>
                        </a:rPr>
                      </a:br>
                      <a:r>
                        <a:rPr lang="en-US" sz="1000" kern="1200">
                          <a:effectLst/>
                        </a:rPr>
                        <a:t>Key Functions</a:t>
                      </a:r>
                      <a:endParaRPr lang="en-US" sz="10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kern="1200">
                          <a:effectLst/>
                        </a:rPr>
                        <a:t>NIST Maturity Level</a:t>
                      </a:r>
                      <a:br>
                        <a:rPr lang="en-US" sz="1000" kern="1200">
                          <a:effectLst/>
                        </a:rPr>
                      </a:br>
                      <a:r>
                        <a:rPr lang="en-US" sz="1000" kern="1200">
                          <a:effectLst/>
                        </a:rPr>
                        <a:t>(As of Date)</a:t>
                      </a:r>
                      <a:endParaRPr lang="en-US" sz="10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kern="1200">
                          <a:effectLst/>
                        </a:rPr>
                        <a:t>2022 Objectives</a:t>
                      </a:r>
                      <a:endParaRPr lang="en-US" sz="10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kern="1200">
                          <a:effectLst/>
                        </a:rPr>
                        <a:t>Targeted Maturity Levels by Date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7725180"/>
                  </a:ext>
                </a:extLst>
              </a:tr>
              <a:tr h="583311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800" b="1" i="0" kern="1200">
                          <a:effectLst/>
                          <a:latin typeface="+mn-lt"/>
                        </a:rPr>
                        <a:t>Identify</a:t>
                      </a:r>
                      <a:endParaRPr lang="en-US" b="1" i="0">
                        <a:effectLst/>
                        <a:latin typeface="+mn-lt"/>
                      </a:endParaRPr>
                    </a:p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800" b="0" i="0" kern="1200">
                          <a:effectLst/>
                          <a:latin typeface="+mn-lt"/>
                        </a:rPr>
                        <a:t>Assets mgmt., governance, risk assessment, 3</a:t>
                      </a:r>
                      <a:r>
                        <a:rPr lang="en-US" sz="800" b="0" i="0" kern="1200" baseline="30000">
                          <a:effectLst/>
                          <a:latin typeface="+mn-lt"/>
                        </a:rPr>
                        <a:t>rd</a:t>
                      </a:r>
                      <a:r>
                        <a:rPr lang="en-US" sz="800" b="0" i="0" kern="1200">
                          <a:effectLst/>
                          <a:latin typeface="+mn-lt"/>
                        </a:rPr>
                        <a:t> party mgmt.</a:t>
                      </a:r>
                      <a:endParaRPr lang="en-US" b="0" i="0"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lang="en-US" sz="800" b="1" i="0" u="none" strike="noStrike" kern="1200" noProof="0">
                          <a:effectLst/>
                          <a:latin typeface="+mn-lt"/>
                        </a:rPr>
                        <a:t>Tier x</a:t>
                      </a:r>
                      <a:endParaRPr lang="en-US" b="1" i="0">
                        <a:latin typeface="+mn-lt"/>
                      </a:endParaRPr>
                    </a:p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800" b="0" i="0" kern="1200">
                          <a:effectLst/>
                          <a:latin typeface="+mn-lt"/>
                        </a:rPr>
                        <a:t>          </a:t>
                      </a:r>
                      <a:endParaRPr lang="en-US" b="0" i="0"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ts val="800"/>
                        <a:buNone/>
                      </a:pPr>
                      <a:r>
                        <a:rPr lang="en-US" sz="800" b="0" i="0" kern="1200">
                          <a:effectLst/>
                          <a:latin typeface="+mn-lt"/>
                        </a:rPr>
                        <a:t>1. 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Lorem ipsum dolor sit 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me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, 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consectetuer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 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dipiscing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 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eli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.</a:t>
                      </a:r>
                    </a:p>
                    <a:p>
                      <a:pPr marL="0" marR="0" lvl="0" indent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ts val="800"/>
                        <a:buNone/>
                      </a:pP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2. Lorem ipsum dolor sit 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me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, 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consectetuer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 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dipiscing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 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eli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.</a:t>
                      </a:r>
                    </a:p>
                    <a:p>
                      <a:pPr marL="0" marR="0" lvl="0" indent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ts val="800"/>
                        <a:buNone/>
                      </a:pP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3. Lorem ipsum dolor sit 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me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, 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consectetuer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 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dipiscing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 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eli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.</a:t>
                      </a:r>
                    </a:p>
                    <a:p>
                      <a:pPr marL="228600" marR="0" lvl="0" indent="-22860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ts val="800"/>
                        <a:buAutoNum type="arabicPeriod"/>
                      </a:pPr>
                      <a:endParaRPr lang="en-US" sz="800" b="0" i="0" u="none" strike="noStrike" kern="1200" noProof="0"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l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kern="1200">
                          <a:effectLst/>
                          <a:latin typeface="+mn-lt"/>
                        </a:rPr>
                        <a:t> Tier x</a:t>
                      </a:r>
                      <a:endParaRPr lang="en-US" b="0" i="0"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50168489"/>
                  </a:ext>
                </a:extLst>
              </a:tr>
              <a:tr h="1234186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800" b="1" i="0" kern="1200">
                          <a:effectLst/>
                          <a:latin typeface="+mn-lt"/>
                        </a:rPr>
                        <a:t>Protect</a:t>
                      </a:r>
                      <a:r>
                        <a:rPr lang="en-US" sz="800" b="0" i="0" kern="1200">
                          <a:effectLst/>
                          <a:latin typeface="+mn-lt"/>
                        </a:rPr>
                        <a:t> </a:t>
                      </a:r>
                      <a:endParaRPr lang="en-US" b="0" i="0">
                        <a:effectLst/>
                        <a:latin typeface="+mn-lt"/>
                      </a:endParaRPr>
                    </a:p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800" b="0" i="0" kern="1200">
                          <a:effectLst/>
                          <a:latin typeface="+mn-lt"/>
                        </a:rPr>
                        <a:t>Identity management and access control, data security, protective controls, awareness and training </a:t>
                      </a:r>
                      <a:endParaRPr lang="en-US" b="0" i="0"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800" b="1" i="0" u="none" strike="noStrike" kern="1200" noProof="0">
                          <a:effectLst/>
                          <a:latin typeface="+mn-lt"/>
                        </a:rPr>
                        <a:t>Tier x</a:t>
                      </a:r>
                      <a:endParaRPr lang="en-US" sz="800" b="0" i="0" kern="1200"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1. Lorem ipsum dolor sit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me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,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consectetuer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dipiscing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eli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.</a:t>
                      </a:r>
                    </a:p>
                    <a:p>
                      <a:pPr marL="0" marR="0" lvl="0" indent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2. Lorem ipsum dolor sit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me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,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consectetuer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dipiscing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eli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.</a:t>
                      </a:r>
                    </a:p>
                    <a:p>
                      <a:pPr marL="0" marR="0" lvl="0" indent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3. Lorem ipsum dolor sit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me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,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consectetuer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dipiscing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eli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.</a:t>
                      </a:r>
                      <a:br>
                        <a:rPr lang="en-US" sz="800" b="0" i="0" kern="1200">
                          <a:effectLst/>
                          <a:latin typeface="+mn-lt"/>
                        </a:rPr>
                      </a:br>
                      <a:endParaRPr lang="en-US" b="0" i="0"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kern="1200">
                          <a:effectLst/>
                          <a:latin typeface="+mn-lt"/>
                        </a:rPr>
                        <a:t>Tier x</a:t>
                      </a:r>
                      <a:endParaRPr lang="en-US" b="0" i="0"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79889517"/>
                  </a:ext>
                </a:extLst>
              </a:tr>
              <a:tr h="896112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800" b="1" i="0" kern="1200">
                          <a:effectLst/>
                          <a:latin typeface="+mn-lt"/>
                        </a:rPr>
                        <a:t>Detect</a:t>
                      </a:r>
                      <a:r>
                        <a:rPr lang="en-US" sz="800" b="0" i="0" kern="1200">
                          <a:effectLst/>
                          <a:latin typeface="+mn-lt"/>
                        </a:rPr>
                        <a:t> </a:t>
                      </a:r>
                      <a:endParaRPr lang="en-US" b="0" i="0">
                        <a:effectLst/>
                        <a:latin typeface="+mn-lt"/>
                      </a:endParaRPr>
                    </a:p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800" b="0" i="0" kern="1200">
                          <a:effectLst/>
                          <a:latin typeface="+mn-lt"/>
                        </a:rPr>
                        <a:t>Anomalies and events, continues monitoring</a:t>
                      </a:r>
                      <a:endParaRPr lang="en-US" b="0" i="0"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lang="en-US" sz="800" b="1" i="0" u="none" strike="noStrike" kern="1200" noProof="0">
                          <a:effectLst/>
                          <a:latin typeface="+mn-lt"/>
                        </a:rPr>
                        <a:t>Tier x</a:t>
                      </a:r>
                      <a:endParaRPr lang="en-US" sz="800" b="0" i="0" kern="1200"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1. Lorem ipsum dolor sit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me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,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consectetuer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dipiscing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eli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.</a:t>
                      </a:r>
                    </a:p>
                    <a:p>
                      <a:pPr marL="0" marR="0" lvl="0" indent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2. Lorem ipsum dolor sit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me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,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consectetuer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dipiscing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eli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.</a:t>
                      </a:r>
                    </a:p>
                    <a:p>
                      <a:pPr marL="0" marR="0" lvl="0" indent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3. Lorem ipsum dolor sit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me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,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consectetuer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dipiscing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eli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.</a:t>
                      </a:r>
                      <a:endParaRPr lang="en-US" b="0" i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kern="1200">
                          <a:effectLst/>
                          <a:latin typeface="+mn-lt"/>
                        </a:rPr>
                        <a:t>Tier x</a:t>
                      </a:r>
                      <a:endParaRPr lang="en-US" b="0" i="0"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38174478"/>
                  </a:ext>
                </a:extLst>
              </a:tr>
              <a:tr h="896112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800" b="1" i="0" kern="1200">
                          <a:effectLst/>
                          <a:latin typeface="+mn-lt"/>
                        </a:rPr>
                        <a:t>Respond</a:t>
                      </a:r>
                      <a:r>
                        <a:rPr lang="en-US" sz="800" b="0" i="0" kern="1200">
                          <a:effectLst/>
                          <a:latin typeface="+mn-lt"/>
                        </a:rPr>
                        <a:t> </a:t>
                      </a:r>
                      <a:endParaRPr lang="en-US" b="0" i="0">
                        <a:effectLst/>
                        <a:latin typeface="+mn-lt"/>
                      </a:endParaRPr>
                    </a:p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800" b="0" i="0" kern="1200">
                          <a:effectLst/>
                          <a:latin typeface="+mn-lt"/>
                        </a:rPr>
                        <a:t>Response planning, communications, analysis, mitigation</a:t>
                      </a:r>
                      <a:endParaRPr lang="en-US" b="0" i="0"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lang="en-US" sz="800" b="1" i="0" u="none" strike="noStrike" kern="1200" noProof="0">
                          <a:effectLst/>
                          <a:latin typeface="+mn-lt"/>
                        </a:rPr>
                        <a:t>Tier x</a:t>
                      </a:r>
                      <a:endParaRPr lang="en-US" sz="800" b="0" i="0" kern="1200"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1. Lorem ipsum dolor sit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me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,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consectetuer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dipiscing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eli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.</a:t>
                      </a:r>
                    </a:p>
                    <a:p>
                      <a:pPr marL="0" marR="0" lvl="0" indent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2. Lorem ipsum dolor sit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me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,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consectetuer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dipiscing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eli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.</a:t>
                      </a:r>
                    </a:p>
                    <a:p>
                      <a:pPr marL="0" marR="0" lvl="0" indent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3. Lorem ipsum dolor sit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me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,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consectetuer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dipiscing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eli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.</a:t>
                      </a:r>
                      <a:endParaRPr lang="en-US" b="0" i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algn="l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kern="1200">
                          <a:effectLst/>
                          <a:latin typeface="+mn-lt"/>
                        </a:rPr>
                        <a:t>Tier x</a:t>
                      </a:r>
                      <a:endParaRPr lang="en-US" b="0" i="0"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91542436"/>
                  </a:ext>
                </a:extLst>
              </a:tr>
              <a:tr h="629793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800" b="1" i="0" kern="1200">
                          <a:effectLst/>
                          <a:latin typeface="+mn-lt"/>
                        </a:rPr>
                        <a:t>Recover</a:t>
                      </a:r>
                      <a:r>
                        <a:rPr lang="en-US" sz="800" b="0" i="0" kern="1200">
                          <a:effectLst/>
                          <a:latin typeface="+mn-lt"/>
                        </a:rPr>
                        <a:t> </a:t>
                      </a:r>
                      <a:endParaRPr lang="en-US" b="0" i="0">
                        <a:effectLst/>
                        <a:latin typeface="+mn-lt"/>
                      </a:endParaRPr>
                    </a:p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n-US" sz="800" b="0" i="0" kern="1200">
                          <a:effectLst/>
                          <a:latin typeface="+mn-lt"/>
                        </a:rPr>
                        <a:t>Recover planning, communications</a:t>
                      </a:r>
                      <a:endParaRPr lang="en-US" b="0" i="0"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lang="en-US" sz="800" b="1" i="0" u="none" strike="noStrike" kern="1200" noProof="0">
                          <a:effectLst/>
                          <a:latin typeface="+mn-lt"/>
                        </a:rPr>
                        <a:t>Tier x</a:t>
                      </a:r>
                      <a:endParaRPr lang="en-US" sz="800" b="0" i="0" kern="1200"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1. Lorem ipsum dolor sit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me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,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consectetuer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dipiscing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eli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.</a:t>
                      </a:r>
                    </a:p>
                    <a:p>
                      <a:pPr marL="0" marR="0" lvl="0" indent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2. Lorem ipsum dolor sit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me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,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consectetuer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dipiscing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eli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.</a:t>
                      </a:r>
                    </a:p>
                    <a:p>
                      <a:pPr marL="0" marR="0" lvl="0" indent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3. Lorem ipsum dolor sit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me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,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consectetuer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adipiscing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0" i="0" u="none" strike="noStrike" kern="1200" noProof="0" err="1">
                          <a:effectLst/>
                          <a:latin typeface="+mn-lt"/>
                        </a:rPr>
                        <a:t>elit</a:t>
                      </a:r>
                      <a:r>
                        <a:rPr lang="en-US" sz="800" b="0" i="0" u="none" strike="noStrike" kern="1200" noProof="0">
                          <a:effectLst/>
                          <a:latin typeface="+mn-lt"/>
                        </a:rPr>
                        <a:t>.</a:t>
                      </a:r>
                      <a:endParaRPr lang="en-US" b="0" i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0" i="0" kern="1200">
                          <a:effectLst/>
                          <a:latin typeface="+mn-lt"/>
                        </a:rPr>
                        <a:t>Tier x</a:t>
                      </a:r>
                      <a:endParaRPr lang="en-US" b="0" i="0"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7899891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38E9FFD-2D0E-9B48-9A60-252FE8146D55}"/>
              </a:ext>
            </a:extLst>
          </p:cNvPr>
          <p:cNvSpPr txBox="1"/>
          <p:nvPr/>
        </p:nvSpPr>
        <p:spPr>
          <a:xfrm>
            <a:off x="438150" y="425517"/>
            <a:ext cx="5648323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2200" b="1">
                <a:solidFill>
                  <a:schemeClr val="bg2"/>
                </a:solidFill>
              </a:rPr>
              <a:t>Cybersecurity Program 20xx Plan</a:t>
            </a:r>
            <a:endParaRPr lang="en-US" sz="2200" b="1">
              <a:solidFill>
                <a:schemeClr val="bg2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438580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EB07651E-7DD5-1241-B498-2A2B18CAC27A}"/>
              </a:ext>
            </a:extLst>
          </p:cNvPr>
          <p:cNvSpPr/>
          <p:nvPr/>
        </p:nvSpPr>
        <p:spPr>
          <a:xfrm>
            <a:off x="419100" y="1076360"/>
            <a:ext cx="11353800" cy="49815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lang="en-US" sz="1600" b="1" u="none" strike="noStrike" cap="none" err="1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1" name="Picture 21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591E0218-1CA9-47C6-8A9B-177260A7FB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2125" y="1390077"/>
            <a:ext cx="885825" cy="809625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9BA861F-CFEE-4D4D-8868-3B1DC933D28B}"/>
              </a:ext>
            </a:extLst>
          </p:cNvPr>
          <p:cNvSpPr txBox="1"/>
          <p:nvPr/>
        </p:nvSpPr>
        <p:spPr>
          <a:xfrm>
            <a:off x="438150" y="425517"/>
            <a:ext cx="5648323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2200" b="1">
                <a:solidFill>
                  <a:schemeClr val="bg2"/>
                </a:solidFill>
              </a:rPr>
              <a:t>Application Security Heatmap</a:t>
            </a:r>
            <a:endParaRPr lang="en-US" sz="2200" b="1">
              <a:solidFill>
                <a:schemeClr val="bg2"/>
              </a:solidFill>
              <a:cs typeface="Calibri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7BDE487-11E0-4F42-951E-DBAF626904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2037152"/>
              </p:ext>
            </p:extLst>
          </p:nvPr>
        </p:nvGraphicFramePr>
        <p:xfrm>
          <a:off x="1489075" y="1390077"/>
          <a:ext cx="10007124" cy="438644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1007">
                  <a:extLst>
                    <a:ext uri="{9D8B030D-6E8A-4147-A177-3AD203B41FA5}">
                      <a16:colId xmlns:a16="http://schemas.microsoft.com/office/drawing/2014/main" val="966074157"/>
                    </a:ext>
                  </a:extLst>
                </a:gridCol>
                <a:gridCol w="709253">
                  <a:extLst>
                    <a:ext uri="{9D8B030D-6E8A-4147-A177-3AD203B41FA5}">
                      <a16:colId xmlns:a16="http://schemas.microsoft.com/office/drawing/2014/main" val="2036198832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4077781171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1417245003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3725419240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4185732385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1339291555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885896894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2650180290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1846250514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3511448817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2886079587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3646583856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551475654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3736605076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2429019406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4154073804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1003388888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3432124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1588242079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3088133527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2854809029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1164394934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1882929344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315291750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3468765847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416401196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1385471313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705974454"/>
                    </a:ext>
                  </a:extLst>
                </a:gridCol>
                <a:gridCol w="254888">
                  <a:extLst>
                    <a:ext uri="{9D8B030D-6E8A-4147-A177-3AD203B41FA5}">
                      <a16:colId xmlns:a16="http://schemas.microsoft.com/office/drawing/2014/main" val="3512421262"/>
                    </a:ext>
                  </a:extLst>
                </a:gridCol>
              </a:tblGrid>
              <a:tr h="199961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bg2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solidFill>
                            <a:schemeClr val="bg1"/>
                          </a:solidFill>
                          <a:effectLst/>
                        </a:rPr>
                        <a:t>Product/Service</a:t>
                      </a:r>
                      <a:endParaRPr lang="en-US" sz="800" b="0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solidFill>
                            <a:schemeClr val="bg1"/>
                          </a:solidFill>
                          <a:effectLst/>
                        </a:rPr>
                        <a:t>Product/Service</a:t>
                      </a:r>
                      <a:endParaRPr lang="en-US" sz="800" b="0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solidFill>
                            <a:schemeClr val="bg1"/>
                          </a:solidFill>
                          <a:effectLst/>
                        </a:rPr>
                        <a:t>Product/Service</a:t>
                      </a:r>
                      <a:endParaRPr lang="en-US" sz="800" b="0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solidFill>
                            <a:schemeClr val="bg1"/>
                          </a:solidFill>
                          <a:effectLst/>
                        </a:rPr>
                        <a:t>Product/Service</a:t>
                      </a:r>
                      <a:endParaRPr lang="en-US" sz="800" b="0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solidFill>
                            <a:schemeClr val="bg1"/>
                          </a:solidFill>
                          <a:effectLst/>
                        </a:rPr>
                        <a:t>Product/Service</a:t>
                      </a:r>
                      <a:endParaRPr lang="en-US" sz="800" b="0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solidFill>
                            <a:schemeClr val="bg1"/>
                          </a:solidFill>
                          <a:effectLst/>
                        </a:rPr>
                        <a:t>Product/Service</a:t>
                      </a:r>
                      <a:endParaRPr lang="en-US" sz="800" b="0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solidFill>
                            <a:schemeClr val="bg1"/>
                          </a:solidFill>
                          <a:effectLst/>
                        </a:rPr>
                        <a:t>Product/Service</a:t>
                      </a:r>
                      <a:endParaRPr lang="en-US" sz="800" b="0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4342505"/>
                  </a:ext>
                </a:extLst>
              </a:tr>
              <a:tr h="160370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solidFill>
                            <a:schemeClr val="bg1"/>
                          </a:solidFill>
                          <a:effectLst/>
                        </a:rPr>
                        <a:t>APPSEC ACTIVITIES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solidFill>
                            <a:schemeClr val="bg1"/>
                          </a:solidFill>
                          <a:effectLst/>
                        </a:rPr>
                        <a:t>RANK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4405096"/>
                  </a:ext>
                </a:extLst>
              </a:tr>
              <a:tr h="200462">
                <a:tc gridSpan="30">
                  <a:txBody>
                    <a:bodyPr/>
                    <a:lstStyle/>
                    <a:p>
                      <a:pPr lvl="0" algn="l" fontAlgn="b"/>
                      <a:r>
                        <a:rPr lang="en-US" sz="1100" u="none" strike="noStrike">
                          <a:effectLst/>
                        </a:rPr>
                        <a:t>  Scanning/Testing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extLst>
                  <a:ext uri="{0D108BD9-81ED-4DB2-BD59-A6C34878D82A}">
                    <a16:rowId xmlns:a16="http://schemas.microsoft.com/office/drawing/2014/main" val="1521685924"/>
                  </a:ext>
                </a:extLst>
              </a:tr>
              <a:tr h="16037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</a:rPr>
                        <a:t>Penetration testing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7629515"/>
                  </a:ext>
                </a:extLst>
              </a:tr>
              <a:tr h="16037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</a:rPr>
                        <a:t>Static analysi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7003464"/>
                  </a:ext>
                </a:extLst>
              </a:tr>
              <a:tr h="16037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</a:rPr>
                        <a:t>Component analysi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5878615"/>
                  </a:ext>
                </a:extLst>
              </a:tr>
              <a:tr h="16037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</a:rPr>
                        <a:t>Dynamic analysi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7068144"/>
                  </a:ext>
                </a:extLst>
              </a:tr>
              <a:tr h="160370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extLst>
                  <a:ext uri="{0D108BD9-81ED-4DB2-BD59-A6C34878D82A}">
                    <a16:rowId xmlns:a16="http://schemas.microsoft.com/office/drawing/2014/main" val="934697164"/>
                  </a:ext>
                </a:extLst>
              </a:tr>
              <a:tr h="200462">
                <a:tc gridSpan="30"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Project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extLst>
                  <a:ext uri="{0D108BD9-81ED-4DB2-BD59-A6C34878D82A}">
                    <a16:rowId xmlns:a16="http://schemas.microsoft.com/office/drawing/2014/main" val="4153409008"/>
                  </a:ext>
                </a:extLst>
              </a:tr>
              <a:tr h="16037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</a:rPr>
                        <a:t>WAF integratio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0740464"/>
                  </a:ext>
                </a:extLst>
              </a:tr>
              <a:tr h="15524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</a:rPr>
                        <a:t>Secret Managem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4085393"/>
                  </a:ext>
                </a:extLst>
              </a:tr>
              <a:tr h="16037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</a:rPr>
                        <a:t>Anti-Tamper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3193084"/>
                  </a:ext>
                </a:extLst>
              </a:tr>
              <a:tr h="16037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</a:rPr>
                        <a:t>Security Champio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818787"/>
                  </a:ext>
                </a:extLst>
              </a:tr>
              <a:tr h="160370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extLst>
                  <a:ext uri="{0D108BD9-81ED-4DB2-BD59-A6C34878D82A}">
                    <a16:rowId xmlns:a16="http://schemas.microsoft.com/office/drawing/2014/main" val="1092753989"/>
                  </a:ext>
                </a:extLst>
              </a:tr>
              <a:tr h="200462">
                <a:tc gridSpan="30"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Processe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extLst>
                  <a:ext uri="{0D108BD9-81ED-4DB2-BD59-A6C34878D82A}">
                    <a16:rowId xmlns:a16="http://schemas.microsoft.com/office/drawing/2014/main" val="1584570113"/>
                  </a:ext>
                </a:extLst>
              </a:tr>
              <a:tr h="16037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+mn-lt"/>
                        </a:rPr>
                        <a:t>Secure SDLC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  <a:latin typeface="+mn-lt"/>
                        </a:rPr>
                        <a:t>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0852318"/>
                  </a:ext>
                </a:extLst>
              </a:tr>
              <a:tr h="16037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+mn-lt"/>
                        </a:rPr>
                        <a:t>Backlog Managem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  <a:latin typeface="+mn-lt"/>
                        </a:rPr>
                        <a:t>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8374176"/>
                  </a:ext>
                </a:extLst>
              </a:tr>
              <a:tr h="16037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+mn-lt"/>
                        </a:rPr>
                        <a:t>Vulnerability Fix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  <a:latin typeface="+mn-lt"/>
                        </a:rPr>
                        <a:t>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0810386"/>
                  </a:ext>
                </a:extLst>
              </a:tr>
              <a:tr h="152285"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US" sz="900" u="none" strike="noStrike">
                          <a:effectLst/>
                          <a:latin typeface="+mn-lt"/>
                        </a:rPr>
                        <a:t>Release Reviews/Approval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en-US" sz="900" u="none" strike="noStrike">
                          <a:effectLst/>
                          <a:latin typeface="+mn-lt"/>
                        </a:rPr>
                        <a:t>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7675673"/>
                  </a:ext>
                </a:extLst>
              </a:tr>
              <a:tr h="16037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+mn-lt"/>
                        </a:rPr>
                        <a:t>Security Desig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  <a:latin typeface="+mn-lt"/>
                        </a:rPr>
                        <a:t>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A5A5A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002479"/>
                  </a:ext>
                </a:extLst>
              </a:tr>
              <a:tr h="16037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+mn-lt"/>
                        </a:rPr>
                        <a:t>Security Training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  <a:latin typeface="+mn-lt"/>
                        </a:rPr>
                        <a:t>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515763"/>
                  </a:ext>
                </a:extLst>
              </a:tr>
              <a:tr h="160370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extLst>
                  <a:ext uri="{0D108BD9-81ED-4DB2-BD59-A6C34878D82A}">
                    <a16:rowId xmlns:a16="http://schemas.microsoft.com/office/drawing/2014/main" val="1079547276"/>
                  </a:ext>
                </a:extLst>
              </a:tr>
              <a:tr h="230531">
                <a:tc gridSpan="30"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 Document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 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extLst>
                  <a:ext uri="{0D108BD9-81ED-4DB2-BD59-A6C34878D82A}">
                    <a16:rowId xmlns:a16="http://schemas.microsoft.com/office/drawing/2014/main" val="4025943591"/>
                  </a:ext>
                </a:extLst>
              </a:tr>
              <a:tr h="16037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</a:rPr>
                        <a:t>Product Reco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4047305"/>
                  </a:ext>
                </a:extLst>
              </a:tr>
              <a:tr h="16037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</a:rPr>
                        <a:t>Threat Modeling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4426880"/>
                  </a:ext>
                </a:extLst>
              </a:tr>
              <a:tr h="160370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</a:rPr>
                        <a:t>Tier 2 InfoSec Suppor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</a:rPr>
                        <a:t>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EC9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20" marR="6820" marT="6820" marB="0" anchor="ctr"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37467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67013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_Diligent">
  <a:themeElements>
    <a:clrScheme name="Diligent 070121">
      <a:dk1>
        <a:srgbClr val="000000"/>
      </a:dk1>
      <a:lt1>
        <a:sysClr val="window" lastClr="FFFFFF"/>
      </a:lt1>
      <a:dk2>
        <a:srgbClr val="EE312E"/>
      </a:dk2>
      <a:lt2>
        <a:srgbClr val="150B48"/>
      </a:lt2>
      <a:accent1>
        <a:srgbClr val="150B48"/>
      </a:accent1>
      <a:accent2>
        <a:srgbClr val="247EE7"/>
      </a:accent2>
      <a:accent3>
        <a:srgbClr val="22A7DD"/>
      </a:accent3>
      <a:accent4>
        <a:srgbClr val="1A5280"/>
      </a:accent4>
      <a:accent5>
        <a:srgbClr val="A0A2A5"/>
      </a:accent5>
      <a:accent6>
        <a:srgbClr val="E0EAEF"/>
      </a:accent6>
      <a:hlink>
        <a:srgbClr val="22A7DD"/>
      </a:hlink>
      <a:folHlink>
        <a:srgbClr val="A0A2A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2700" cap="flat" cmpd="sng">
          <a:noFill/>
          <a:prstDash val="solid"/>
          <a:round/>
          <a:headEnd type="none" w="sm" len="sm"/>
          <a:tailEnd type="none" w="sm" len="sm"/>
        </a:ln>
      </a:spPr>
      <a:bodyPr spcFirstLastPara="1" wrap="square" lIns="91425" tIns="91425" rIns="91425" bIns="91425" rtlCol="0" anchor="ctr" anchorCtr="0">
        <a:noAutofit/>
      </a:bodyPr>
      <a:lstStyle>
        <a:defPPr marL="0" marR="0" indent="0" algn="ctr" rtl="0">
          <a:lnSpc>
            <a:spcPct val="90000"/>
          </a:lnSpc>
          <a:spcBef>
            <a:spcPts val="0"/>
          </a:spcBef>
          <a:spcAft>
            <a:spcPts val="0"/>
          </a:spcAft>
          <a:buClr>
            <a:schemeClr val="dk1"/>
          </a:buClr>
          <a:buSzPts val="1200"/>
          <a:buFont typeface="Arial"/>
          <a:buNone/>
          <a:defRPr sz="1600" b="1" u="none" strike="noStrike" cap="none" dirty="0" err="1" smtClean="0">
            <a:solidFill>
              <a:schemeClr val="bg1"/>
            </a:solidFill>
            <a:latin typeface="Arial"/>
            <a:ea typeface="Arial"/>
            <a:cs typeface="Arial"/>
            <a:sym typeface="Arial"/>
          </a:defRPr>
        </a:defPPr>
      </a:lstStyle>
    </a:spDef>
    <a:lnDef>
      <a:spPr>
        <a:noFill/>
        <a:ln w="12700" cap="sq" cmpd="sng">
          <a:solidFill>
            <a:srgbClr val="6F7878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>
        <a:noFill/>
      </a:spPr>
      <a:bodyPr wrap="none" lIns="0" tIns="0" rIns="0" bIns="0" rtlCol="0" anchor="t" anchorCtr="0">
        <a:noAutofit/>
      </a:bodyPr>
      <a:lstStyle>
        <a:defPPr algn="l">
          <a:lnSpc>
            <a:spcPct val="90000"/>
          </a:lnSpc>
          <a:spcBef>
            <a:spcPts val="600"/>
          </a:spcBef>
          <a:defRPr sz="1200" dirty="0" err="1">
            <a:latin typeface="Arial"/>
            <a:cs typeface="Arial"/>
          </a:defRPr>
        </a:defPPr>
      </a:lstStyle>
    </a:txDef>
  </a:objectDefaults>
  <a:extraClrSchemeLst/>
  <a:custClrLst>
    <a:custClr name="Cherry">
      <a:srgbClr val="EE312E"/>
    </a:custClr>
    <a:custClr name="Tomato">
      <a:srgbClr val="D3222A"/>
    </a:custClr>
    <a:custClr name="Fire_Engine">
      <a:srgbClr val="AF292B"/>
    </a:custClr>
    <a:custClr name="Cabernet">
      <a:srgbClr val="921A1D"/>
    </a:custClr>
    <a:custClr name="Syrah">
      <a:srgbClr val="5F091D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Slate">
      <a:srgbClr val="536776"/>
    </a:custClr>
    <a:custClr name="Navy">
      <a:srgbClr val="1A5280"/>
    </a:custClr>
    <a:custClr name="Surfs_Up">
      <a:srgbClr val="247EE7"/>
    </a:custClr>
    <a:custClr name="Big_Sky">
      <a:srgbClr val="229DDD"/>
    </a:custClr>
    <a:custClr name="Cloudy_Day">
      <a:srgbClr val="E0EAE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Onyx">
      <a:srgbClr val="282E37"/>
    </a:custClr>
    <a:custClr name="Ash">
      <a:srgbClr val="6F7377"/>
    </a:custClr>
    <a:custClr name="Pewter">
      <a:srgbClr val="A0A2A5"/>
    </a:custClr>
    <a:custClr name="Sterling">
      <a:srgbClr val="DADADA"/>
    </a:custClr>
    <a:custClr name="Platinum">
      <a:srgbClr val="F3F3F3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Theme_Diligent" id="{B9D21111-882E-ED41-9953-87CB00F9D89E}" vid="{CFC5586C-3A8C-A943-8A74-FFFD9B41880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Diligent">
      <a:majorFont>
        <a:latin typeface="Proxima Nova Rg"/>
        <a:ea typeface=""/>
        <a:cs typeface=""/>
      </a:majorFont>
      <a:minorFont>
        <a:latin typeface="Proxima Nova L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342471B244D6F42A396FCF5C598DF74" ma:contentTypeVersion="17" ma:contentTypeDescription="Create a new document." ma:contentTypeScope="" ma:versionID="b772c8984190487575d42207d7cc3a42">
  <xsd:schema xmlns:xsd="http://www.w3.org/2001/XMLSchema" xmlns:xs="http://www.w3.org/2001/XMLSchema" xmlns:p="http://schemas.microsoft.com/office/2006/metadata/properties" xmlns:ns2="cdf288bc-5aac-43c4-847c-40de4560b806" xmlns:ns3="cb2a0652-7029-4cc0-be11-cbacdaa048ee" xmlns:ns4="http://schemas.microsoft.com/sharepoint/v4" targetNamespace="http://schemas.microsoft.com/office/2006/metadata/properties" ma:root="true" ma:fieldsID="b71e8d997b60c8358e603d2bfde63cb7" ns2:_="" ns3:_="" ns4:_="">
    <xsd:import namespace="cdf288bc-5aac-43c4-847c-40de4560b806"/>
    <xsd:import namespace="cb2a0652-7029-4cc0-be11-cbacdaa048ee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2:SharedWithUsers" minOccurs="0"/>
                <xsd:element ref="ns2:SharedWithDetails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4:IconOverlay" minOccurs="0"/>
                <xsd:element ref="ns3:MediaLengthInSeconds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f288bc-5aac-43c4-847c-40de4560b806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7" nillable="true" ma:displayName="Taxonomy Catch All Column" ma:hidden="true" ma:list="{9ea888fb-1b6a-43af-aeb2-93f4afe5e3fa}" ma:internalName="TaxCatchAll" ma:showField="CatchAllData" ma:web="cdf288bc-5aac-43c4-847c-40de4560b80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2a0652-7029-4cc0-be11-cbacdaa048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  <xsd:element name="MediaLengthInSeconds" ma:index="24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ec066173-e10b-4a90-850e-e2db255326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23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  <_dlc_DocId xmlns="cdf288bc-5aac-43c4-847c-40de4560b806">2PQYVXRURU76-918958877-19020</_dlc_DocId>
    <_dlc_DocIdUrl xmlns="cdf288bc-5aac-43c4-847c-40de4560b806">
      <Url>https://dilcorp.sharepoint.com/sites/Marketing/_layouts/15/DocIdRedir.aspx?ID=2PQYVXRURU76-918958877-19020</Url>
      <Description>2PQYVXRURU76-918958877-19020</Description>
    </_dlc_DocIdUrl>
    <TaxCatchAll xmlns="cdf288bc-5aac-43c4-847c-40de4560b806" xsi:nil="true"/>
    <lcf76f155ced4ddcb4097134ff3c332f xmlns="cb2a0652-7029-4cc0-be11-cbacdaa048ee">
      <Terms xmlns="http://schemas.microsoft.com/office/infopath/2007/PartnerControls"/>
    </lcf76f155ced4ddcb4097134ff3c332f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2404426-B61C-41F1-A433-1BD3FA3BDB27}">
  <ds:schemaRefs>
    <ds:schemaRef ds:uri="cb2a0652-7029-4cc0-be11-cbacdaa048ee"/>
    <ds:schemaRef ds:uri="cdf288bc-5aac-43c4-847c-40de4560b80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4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D0F7C26-965E-4E80-99BA-0D9C1DFD70F6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869158BD-1904-4EBF-A73B-2922D5F2EE3B}">
  <ds:schemaRefs>
    <ds:schemaRef ds:uri="cb2a0652-7029-4cc0-be11-cbacdaa048ee"/>
    <ds:schemaRef ds:uri="cdf288bc-5aac-43c4-847c-40de4560b80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4"/>
    <ds:schemaRef ds:uri="http://schemas.openxmlformats.org/package/2006/metadata/core-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5EC28346-ABD3-4358-B95B-DACFC3AD043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eme_Diligent</Template>
  <Application>Microsoft Office PowerPoint</Application>
  <PresentationFormat>Widescreen</PresentationFormat>
  <Slides>4</Slides>
  <Notes>1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5" baseType="lpstr">
      <vt:lpstr>Theme_Diligent</vt:lpstr>
      <vt:lpstr>Cybersecurity Presentation Templat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rek MacDavid</dc:creator>
  <cp:revision>1</cp:revision>
  <cp:lastPrinted>2018-02-23T18:32:13Z</cp:lastPrinted>
  <dcterms:created xsi:type="dcterms:W3CDTF">2018-01-26T00:06:57Z</dcterms:created>
  <dcterms:modified xsi:type="dcterms:W3CDTF">2022-11-22T16:19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342471B244D6F42A396FCF5C598DF74</vt:lpwstr>
  </property>
  <property fmtid="{D5CDD505-2E9C-101B-9397-08002B2CF9AE}" pid="3" name="_dlc_DocIdItemGuid">
    <vt:lpwstr>64848f30-8d22-4c32-9b40-e565ef83abfc</vt:lpwstr>
  </property>
</Properties>
</file>